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4"/>
  </p:sldMasterIdLst>
  <p:notesMasterIdLst>
    <p:notesMasterId r:id="rId15"/>
  </p:notesMasterIdLst>
  <p:handoutMasterIdLst>
    <p:handoutMasterId r:id="rId16"/>
  </p:handoutMasterIdLst>
  <p:sldIdLst>
    <p:sldId id="272" r:id="rId5"/>
    <p:sldId id="323" r:id="rId6"/>
    <p:sldId id="329" r:id="rId7"/>
    <p:sldId id="324" r:id="rId8"/>
    <p:sldId id="317" r:id="rId9"/>
    <p:sldId id="326" r:id="rId10"/>
    <p:sldId id="322" r:id="rId11"/>
    <p:sldId id="319" r:id="rId12"/>
    <p:sldId id="1252" r:id="rId13"/>
    <p:sldId id="315" r:id="rId14"/>
  </p:sldIdLst>
  <p:sldSz cx="12188825" cy="6858000"/>
  <p:notesSz cx="7315200" cy="9601200"/>
  <p:defaultTextStyle>
    <a:defPPr>
      <a:defRPr lang="en-US"/>
    </a:defPPr>
    <a:lvl1pPr algn="l" defTabSz="12176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1pPr>
    <a:lvl2pPr marL="608013" indent="-150813" algn="l" defTabSz="12176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2pPr>
    <a:lvl3pPr marL="1217613" indent="-303213" algn="l" defTabSz="12176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3pPr>
    <a:lvl4pPr marL="1827213" indent="-455613" algn="l" defTabSz="12176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4pPr>
    <a:lvl5pPr marL="2436813" indent="-608013" algn="l" defTabSz="12176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176">
          <p15:clr>
            <a:srgbClr val="A4A3A4"/>
          </p15:clr>
        </p15:guide>
        <p15:guide id="2" pos="29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9999"/>
    <a:srgbClr val="666699"/>
    <a:srgbClr val="F6591A"/>
    <a:srgbClr val="F84E20"/>
    <a:srgbClr val="F5560F"/>
    <a:srgbClr val="DD4B09"/>
    <a:srgbClr val="F65912"/>
    <a:srgbClr val="F76625"/>
    <a:srgbClr val="F649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76" autoAdjust="0"/>
  </p:normalViewPr>
  <p:slideViewPr>
    <p:cSldViewPr snapToObjects="1" showGuides="1">
      <p:cViewPr varScale="1">
        <p:scale>
          <a:sx n="86" d="100"/>
          <a:sy n="86" d="100"/>
        </p:scale>
        <p:origin x="654" y="90"/>
      </p:cViewPr>
      <p:guideLst>
        <p:guide orient="horz" pos="4176"/>
        <p:guide pos="2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vanasr\Documents\Renu\Presentations\Investor%20Presentation\03_February_19\AAL%20Profitability%20Trend_v1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solidFill>
          <a:schemeClr val="bg1">
            <a:lumMod val="85000"/>
          </a:schemeClr>
        </a:solidFill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6768389107611548"/>
          <c:y val="1.8680679434701336E-3"/>
          <c:w val="0.80629888451443565"/>
          <c:h val="0.83797172345238324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scene3d>
              <a:camera prst="orthographicFront"/>
              <a:lightRig rig="threePt" dir="t">
                <a:rot lat="0" lon="0" rev="10800000"/>
              </a:lightRig>
            </a:scene3d>
          </c:spPr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0">
                    <a:schemeClr val="accent2">
                      <a:shade val="30000"/>
                      <a:satMod val="115000"/>
                    </a:schemeClr>
                  </a:gs>
                  <a:gs pos="50000">
                    <a:schemeClr val="accent2">
                      <a:shade val="67500"/>
                      <a:satMod val="115000"/>
                    </a:schemeClr>
                  </a:gs>
                  <a:gs pos="100000">
                    <a:schemeClr val="accent2"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1-F754-465F-8F80-10852D7B1126}"/>
              </c:ext>
            </c:extLst>
          </c:dPt>
          <c:dPt>
            <c:idx val="1"/>
            <c:invertIfNegative val="0"/>
            <c:bubble3D val="0"/>
            <c:spPr>
              <a:solidFill>
                <a:srgbClr val="FFC000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4-F754-465F-8F80-10852D7B1126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3-F754-465F-8F80-10852D7B1126}"/>
              </c:ext>
            </c:extLst>
          </c:dPt>
          <c:dLbls>
            <c:dLbl>
              <c:idx val="0"/>
              <c:layout>
                <c:manualLayout>
                  <c:x val="-4.1666666666666666E-3"/>
                  <c:y val="0.2353300148301146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754-465F-8F80-10852D7B1126}"/>
                </c:ext>
              </c:extLst>
            </c:dLbl>
            <c:dLbl>
              <c:idx val="1"/>
              <c:layout>
                <c:manualLayout>
                  <c:x val="-7.638800644811996E-17"/>
                  <c:y val="0.2117970133471031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754-465F-8F80-10852D7B112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YTD FY19</c:v>
                </c:pt>
                <c:pt idx="1">
                  <c:v>YTD FY18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9.2999999999999999E-2</c:v>
                </c:pt>
                <c:pt idx="1">
                  <c:v>7.6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754-465F-8F80-10852D7B11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19339392"/>
        <c:axId val="219346048"/>
        <c:axId val="0"/>
      </c:bar3DChart>
      <c:catAx>
        <c:axId val="2193393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solidFill>
            <a:schemeClr val="bg1"/>
          </a:solidFill>
        </c:spPr>
        <c:txPr>
          <a:bodyPr/>
          <a:lstStyle/>
          <a:p>
            <a:pPr>
              <a:defRPr sz="1200"/>
            </a:pPr>
            <a:endParaRPr lang="en-US"/>
          </a:p>
        </c:txPr>
        <c:crossAx val="219346048"/>
        <c:crosses val="autoZero"/>
        <c:auto val="1"/>
        <c:lblAlgn val="ctr"/>
        <c:lblOffset val="100"/>
        <c:noMultiLvlLbl val="0"/>
      </c:catAx>
      <c:valAx>
        <c:axId val="219346048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2193393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 b="1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>
                <a:solidFill>
                  <a:schemeClr val="bg1"/>
                </a:solidFill>
              </a:rPr>
              <a:t>Combined</a:t>
            </a:r>
            <a:r>
              <a:rPr lang="en-US" baseline="0">
                <a:solidFill>
                  <a:schemeClr val="bg1"/>
                </a:solidFill>
              </a:rPr>
              <a:t> Profitability(Apr-Mar) </a:t>
            </a:r>
            <a:endParaRPr lang="en-US">
              <a:solidFill>
                <a:schemeClr val="bg1"/>
              </a:solidFill>
            </a:endParaRPr>
          </a:p>
        </c:rich>
      </c:tx>
      <c:overlay val="1"/>
      <c:spPr>
        <a:solidFill>
          <a:schemeClr val="tx2">
            <a:lumMod val="60000"/>
            <a:lumOff val="40000"/>
          </a:schemeClr>
        </a:solidFill>
      </c:spPr>
    </c:title>
    <c:autoTitleDeleted val="0"/>
    <c:plotArea>
      <c:layout>
        <c:manualLayout>
          <c:layoutTarget val="inner"/>
          <c:xMode val="edge"/>
          <c:yMode val="edge"/>
          <c:x val="0.10377260421187509"/>
          <c:y val="2.2353590643922547E-2"/>
          <c:w val="0.94208589083844829"/>
          <c:h val="0.822859720561369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Al Trend'!$A$3</c:f>
              <c:strCache>
                <c:ptCount val="1"/>
                <c:pt idx="0">
                  <c:v>Total Income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cat>
            <c:strRef>
              <c:f>'AAl Trend'!$D$2:$AH$2</c:f>
              <c:strCache>
                <c:ptCount val="29"/>
                <c:pt idx="0">
                  <c:v>FY12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FY13Q1</c:v>
                </c:pt>
                <c:pt idx="5">
                  <c:v>Q2</c:v>
                </c:pt>
                <c:pt idx="6">
                  <c:v>Q3</c:v>
                </c:pt>
                <c:pt idx="7">
                  <c:v>Q4</c:v>
                </c:pt>
                <c:pt idx="8">
                  <c:v>FY14Q1</c:v>
                </c:pt>
                <c:pt idx="9">
                  <c:v>Q2</c:v>
                </c:pt>
                <c:pt idx="10">
                  <c:v>Q3</c:v>
                </c:pt>
                <c:pt idx="11">
                  <c:v>Q4</c:v>
                </c:pt>
                <c:pt idx="12">
                  <c:v>FY15Q3</c:v>
                </c:pt>
                <c:pt idx="13">
                  <c:v>Q4</c:v>
                </c:pt>
                <c:pt idx="14">
                  <c:v>FY16Q1</c:v>
                </c:pt>
                <c:pt idx="15">
                  <c:v>Q2</c:v>
                </c:pt>
                <c:pt idx="16">
                  <c:v>Q3</c:v>
                </c:pt>
                <c:pt idx="17">
                  <c:v>Q4</c:v>
                </c:pt>
                <c:pt idx="18">
                  <c:v>FY17Q1</c:v>
                </c:pt>
                <c:pt idx="19">
                  <c:v>Q2</c:v>
                </c:pt>
                <c:pt idx="20">
                  <c:v>Q3</c:v>
                </c:pt>
                <c:pt idx="21">
                  <c:v>Q4</c:v>
                </c:pt>
                <c:pt idx="22">
                  <c:v>FY18Q1</c:v>
                </c:pt>
                <c:pt idx="23">
                  <c:v>Q2</c:v>
                </c:pt>
                <c:pt idx="24">
                  <c:v>Q3</c:v>
                </c:pt>
                <c:pt idx="25">
                  <c:v>Q4</c:v>
                </c:pt>
                <c:pt idx="26">
                  <c:v>FY19Q1</c:v>
                </c:pt>
                <c:pt idx="27">
                  <c:v>Q2</c:v>
                </c:pt>
                <c:pt idx="28">
                  <c:v>Q3</c:v>
                </c:pt>
              </c:strCache>
            </c:strRef>
          </c:cat>
          <c:val>
            <c:numRef>
              <c:f>'AAl Trend'!$D$3:$AH$3</c:f>
              <c:numCache>
                <c:formatCode>0</c:formatCode>
                <c:ptCount val="29"/>
                <c:pt idx="0">
                  <c:v>2927.1770000000001</c:v>
                </c:pt>
                <c:pt idx="1">
                  <c:v>2971.2799999999997</c:v>
                </c:pt>
                <c:pt idx="2">
                  <c:v>1820.25</c:v>
                </c:pt>
                <c:pt idx="3">
                  <c:v>1707.9949999999999</c:v>
                </c:pt>
                <c:pt idx="4">
                  <c:v>1987.61</c:v>
                </c:pt>
                <c:pt idx="5">
                  <c:v>1635.36</c:v>
                </c:pt>
                <c:pt idx="6">
                  <c:v>1616.61</c:v>
                </c:pt>
                <c:pt idx="7">
                  <c:v>1202.0710000000001</c:v>
                </c:pt>
                <c:pt idx="8">
                  <c:v>1336.6926629999998</c:v>
                </c:pt>
                <c:pt idx="9">
                  <c:v>1761.7165990000001</c:v>
                </c:pt>
                <c:pt idx="10">
                  <c:v>1883.5542379999999</c:v>
                </c:pt>
                <c:pt idx="11">
                  <c:v>1843.8032029999999</c:v>
                </c:pt>
                <c:pt idx="12">
                  <c:v>2054.5772430000002</c:v>
                </c:pt>
                <c:pt idx="13">
                  <c:v>2562.4620190000001</c:v>
                </c:pt>
                <c:pt idx="14">
                  <c:v>2350.5028699999998</c:v>
                </c:pt>
                <c:pt idx="15">
                  <c:v>2728.4156560000001</c:v>
                </c:pt>
                <c:pt idx="16">
                  <c:v>2675.2080820000001</c:v>
                </c:pt>
                <c:pt idx="17">
                  <c:v>3121.3084509999999</c:v>
                </c:pt>
                <c:pt idx="18">
                  <c:v>2931.1779999999999</c:v>
                </c:pt>
                <c:pt idx="19">
                  <c:v>2247.9549999999999</c:v>
                </c:pt>
                <c:pt idx="20">
                  <c:v>2795.056</c:v>
                </c:pt>
                <c:pt idx="21">
                  <c:v>3513.98</c:v>
                </c:pt>
                <c:pt idx="22">
                  <c:v>3274.65</c:v>
                </c:pt>
                <c:pt idx="23">
                  <c:v>3512.54</c:v>
                </c:pt>
                <c:pt idx="24">
                  <c:v>4093.77</c:v>
                </c:pt>
                <c:pt idx="25">
                  <c:v>4699.67</c:v>
                </c:pt>
                <c:pt idx="26">
                  <c:v>4747.01</c:v>
                </c:pt>
                <c:pt idx="27">
                  <c:v>4992.43</c:v>
                </c:pt>
                <c:pt idx="28">
                  <c:v>4864.93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DE-47FF-A4BB-8EA3122E03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962432"/>
        <c:axId val="96972800"/>
      </c:barChart>
      <c:lineChart>
        <c:grouping val="standard"/>
        <c:varyColors val="0"/>
        <c:ser>
          <c:idx val="1"/>
          <c:order val="1"/>
          <c:tx>
            <c:strRef>
              <c:f>'AAl Trend'!$A$4</c:f>
              <c:strCache>
                <c:ptCount val="1"/>
                <c:pt idx="0">
                  <c:v>EBITDA</c:v>
                </c:pt>
              </c:strCache>
            </c:strRef>
          </c:tx>
          <c:marker>
            <c:symbol val="circle"/>
            <c:size val="2"/>
            <c:spPr>
              <a:solidFill>
                <a:schemeClr val="tx1"/>
              </a:solidFill>
            </c:spPr>
          </c:marker>
          <c:cat>
            <c:strRef>
              <c:f>'AAl Trend'!$D$2:$AH$2</c:f>
              <c:strCache>
                <c:ptCount val="29"/>
                <c:pt idx="0">
                  <c:v>FY12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FY13Q1</c:v>
                </c:pt>
                <c:pt idx="5">
                  <c:v>Q2</c:v>
                </c:pt>
                <c:pt idx="6">
                  <c:v>Q3</c:v>
                </c:pt>
                <c:pt idx="7">
                  <c:v>Q4</c:v>
                </c:pt>
                <c:pt idx="8">
                  <c:v>FY14Q1</c:v>
                </c:pt>
                <c:pt idx="9">
                  <c:v>Q2</c:v>
                </c:pt>
                <c:pt idx="10">
                  <c:v>Q3</c:v>
                </c:pt>
                <c:pt idx="11">
                  <c:v>Q4</c:v>
                </c:pt>
                <c:pt idx="12">
                  <c:v>FY15Q3</c:v>
                </c:pt>
                <c:pt idx="13">
                  <c:v>Q4</c:v>
                </c:pt>
                <c:pt idx="14">
                  <c:v>FY16Q1</c:v>
                </c:pt>
                <c:pt idx="15">
                  <c:v>Q2</c:v>
                </c:pt>
                <c:pt idx="16">
                  <c:v>Q3</c:v>
                </c:pt>
                <c:pt idx="17">
                  <c:v>Q4</c:v>
                </c:pt>
                <c:pt idx="18">
                  <c:v>FY17Q1</c:v>
                </c:pt>
                <c:pt idx="19">
                  <c:v>Q2</c:v>
                </c:pt>
                <c:pt idx="20">
                  <c:v>Q3</c:v>
                </c:pt>
                <c:pt idx="21">
                  <c:v>Q4</c:v>
                </c:pt>
                <c:pt idx="22">
                  <c:v>FY18Q1</c:v>
                </c:pt>
                <c:pt idx="23">
                  <c:v>Q2</c:v>
                </c:pt>
                <c:pt idx="24">
                  <c:v>Q3</c:v>
                </c:pt>
                <c:pt idx="25">
                  <c:v>Q4</c:v>
                </c:pt>
                <c:pt idx="26">
                  <c:v>FY19Q1</c:v>
                </c:pt>
                <c:pt idx="27">
                  <c:v>Q2</c:v>
                </c:pt>
                <c:pt idx="28">
                  <c:v>Q3</c:v>
                </c:pt>
              </c:strCache>
            </c:strRef>
          </c:cat>
          <c:val>
            <c:numRef>
              <c:f>'AAl Trend'!$D$4:$AH$4</c:f>
              <c:numCache>
                <c:formatCode>0</c:formatCode>
                <c:ptCount val="29"/>
                <c:pt idx="0">
                  <c:v>373.25300000000061</c:v>
                </c:pt>
                <c:pt idx="1">
                  <c:v>384.24099999999953</c:v>
                </c:pt>
                <c:pt idx="2">
                  <c:v>181.71000000000026</c:v>
                </c:pt>
                <c:pt idx="3">
                  <c:v>93.007999999999811</c:v>
                </c:pt>
                <c:pt idx="4">
                  <c:v>186.84999999999991</c:v>
                </c:pt>
                <c:pt idx="5">
                  <c:v>122.40999999999963</c:v>
                </c:pt>
                <c:pt idx="6">
                  <c:v>146.56999999999994</c:v>
                </c:pt>
                <c:pt idx="7">
                  <c:v>97.694169000000201</c:v>
                </c:pt>
                <c:pt idx="8">
                  <c:v>121.75745499999994</c:v>
                </c:pt>
                <c:pt idx="9">
                  <c:v>174.48853399999985</c:v>
                </c:pt>
                <c:pt idx="10">
                  <c:v>176.99808100000018</c:v>
                </c:pt>
                <c:pt idx="11">
                  <c:v>151.00839599999995</c:v>
                </c:pt>
                <c:pt idx="12">
                  <c:v>181.80457799999999</c:v>
                </c:pt>
                <c:pt idx="13">
                  <c:v>197.05509399999937</c:v>
                </c:pt>
                <c:pt idx="14">
                  <c:v>215.08270900000022</c:v>
                </c:pt>
                <c:pt idx="15">
                  <c:v>225.47887900000072</c:v>
                </c:pt>
                <c:pt idx="16">
                  <c:v>244.35131800000045</c:v>
                </c:pt>
                <c:pt idx="17">
                  <c:v>288.55735272999982</c:v>
                </c:pt>
                <c:pt idx="18">
                  <c:v>267.05900000000003</c:v>
                </c:pt>
                <c:pt idx="19">
                  <c:v>249.68099999999998</c:v>
                </c:pt>
                <c:pt idx="20">
                  <c:v>259.82000000000005</c:v>
                </c:pt>
                <c:pt idx="21">
                  <c:v>365.62</c:v>
                </c:pt>
                <c:pt idx="22">
                  <c:v>295.71000000000004</c:v>
                </c:pt>
                <c:pt idx="23">
                  <c:v>408.69</c:v>
                </c:pt>
                <c:pt idx="24">
                  <c:v>455.39</c:v>
                </c:pt>
                <c:pt idx="25">
                  <c:v>555.98</c:v>
                </c:pt>
                <c:pt idx="26">
                  <c:v>568.36</c:v>
                </c:pt>
                <c:pt idx="27">
                  <c:v>597.15</c:v>
                </c:pt>
                <c:pt idx="28">
                  <c:v>565.05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DE-47FF-A4BB-8EA3122E034C}"/>
            </c:ext>
          </c:extLst>
        </c:ser>
        <c:ser>
          <c:idx val="2"/>
          <c:order val="2"/>
          <c:tx>
            <c:strRef>
              <c:f>'AAl Trend'!$A$5</c:f>
              <c:strCache>
                <c:ptCount val="1"/>
                <c:pt idx="0">
                  <c:v>PBT</c:v>
                </c:pt>
              </c:strCache>
            </c:strRef>
          </c:tx>
          <c:spPr>
            <a:ln>
              <a:solidFill>
                <a:srgbClr val="00B0F0"/>
              </a:solidFill>
            </a:ln>
          </c:spPr>
          <c:marker>
            <c:symbol val="circle"/>
            <c:size val="2"/>
            <c:spPr>
              <a:solidFill>
                <a:schemeClr val="tx1"/>
              </a:solidFill>
            </c:spPr>
          </c:marker>
          <c:cat>
            <c:strRef>
              <c:f>'AAl Trend'!$D$2:$AH$2</c:f>
              <c:strCache>
                <c:ptCount val="29"/>
                <c:pt idx="0">
                  <c:v>FY12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FY13Q1</c:v>
                </c:pt>
                <c:pt idx="5">
                  <c:v>Q2</c:v>
                </c:pt>
                <c:pt idx="6">
                  <c:v>Q3</c:v>
                </c:pt>
                <c:pt idx="7">
                  <c:v>Q4</c:v>
                </c:pt>
                <c:pt idx="8">
                  <c:v>FY14Q1</c:v>
                </c:pt>
                <c:pt idx="9">
                  <c:v>Q2</c:v>
                </c:pt>
                <c:pt idx="10">
                  <c:v>Q3</c:v>
                </c:pt>
                <c:pt idx="11">
                  <c:v>Q4</c:v>
                </c:pt>
                <c:pt idx="12">
                  <c:v>FY15Q3</c:v>
                </c:pt>
                <c:pt idx="13">
                  <c:v>Q4</c:v>
                </c:pt>
                <c:pt idx="14">
                  <c:v>FY16Q1</c:v>
                </c:pt>
                <c:pt idx="15">
                  <c:v>Q2</c:v>
                </c:pt>
                <c:pt idx="16">
                  <c:v>Q3</c:v>
                </c:pt>
                <c:pt idx="17">
                  <c:v>Q4</c:v>
                </c:pt>
                <c:pt idx="18">
                  <c:v>FY17Q1</c:v>
                </c:pt>
                <c:pt idx="19">
                  <c:v>Q2</c:v>
                </c:pt>
                <c:pt idx="20">
                  <c:v>Q3</c:v>
                </c:pt>
                <c:pt idx="21">
                  <c:v>Q4</c:v>
                </c:pt>
                <c:pt idx="22">
                  <c:v>FY18Q1</c:v>
                </c:pt>
                <c:pt idx="23">
                  <c:v>Q2</c:v>
                </c:pt>
                <c:pt idx="24">
                  <c:v>Q3</c:v>
                </c:pt>
                <c:pt idx="25">
                  <c:v>Q4</c:v>
                </c:pt>
                <c:pt idx="26">
                  <c:v>FY19Q1</c:v>
                </c:pt>
                <c:pt idx="27">
                  <c:v>Q2</c:v>
                </c:pt>
                <c:pt idx="28">
                  <c:v>Q3</c:v>
                </c:pt>
              </c:strCache>
            </c:strRef>
          </c:cat>
          <c:val>
            <c:numRef>
              <c:f>'AAl Trend'!$D$5:$AH$5</c:f>
              <c:numCache>
                <c:formatCode>0</c:formatCode>
                <c:ptCount val="29"/>
                <c:pt idx="0">
                  <c:v>287.3400000000006</c:v>
                </c:pt>
                <c:pt idx="1">
                  <c:v>287.46499999999958</c:v>
                </c:pt>
                <c:pt idx="2">
                  <c:v>88.717000000000269</c:v>
                </c:pt>
                <c:pt idx="3">
                  <c:v>2.2349999999997721</c:v>
                </c:pt>
                <c:pt idx="4">
                  <c:v>90.729999999999905</c:v>
                </c:pt>
                <c:pt idx="5">
                  <c:v>32.629999999999626</c:v>
                </c:pt>
                <c:pt idx="6">
                  <c:v>55.459999999999937</c:v>
                </c:pt>
                <c:pt idx="7">
                  <c:v>6.760428000000207</c:v>
                </c:pt>
                <c:pt idx="8">
                  <c:v>36.140492999999935</c:v>
                </c:pt>
                <c:pt idx="9">
                  <c:v>84.06929499999984</c:v>
                </c:pt>
                <c:pt idx="10">
                  <c:v>82.53520500000019</c:v>
                </c:pt>
                <c:pt idx="11">
                  <c:v>55.873842999999944</c:v>
                </c:pt>
                <c:pt idx="12">
                  <c:v>84.392014999999986</c:v>
                </c:pt>
                <c:pt idx="13">
                  <c:v>80.429650999999382</c:v>
                </c:pt>
                <c:pt idx="14">
                  <c:v>117.90597100000025</c:v>
                </c:pt>
                <c:pt idx="15">
                  <c:v>119.39133000000069</c:v>
                </c:pt>
                <c:pt idx="16">
                  <c:v>119.46102300000044</c:v>
                </c:pt>
                <c:pt idx="17">
                  <c:v>158.47071972999981</c:v>
                </c:pt>
                <c:pt idx="18">
                  <c:v>168.679</c:v>
                </c:pt>
                <c:pt idx="19">
                  <c:v>149.023</c:v>
                </c:pt>
                <c:pt idx="20">
                  <c:v>160.965</c:v>
                </c:pt>
                <c:pt idx="21">
                  <c:v>259.93</c:v>
                </c:pt>
                <c:pt idx="22">
                  <c:v>195.44</c:v>
                </c:pt>
                <c:pt idx="23">
                  <c:v>309.60000000000002</c:v>
                </c:pt>
                <c:pt idx="24">
                  <c:v>337.87</c:v>
                </c:pt>
                <c:pt idx="25">
                  <c:v>435.26</c:v>
                </c:pt>
                <c:pt idx="26">
                  <c:v>441.7</c:v>
                </c:pt>
                <c:pt idx="27">
                  <c:v>472.63</c:v>
                </c:pt>
                <c:pt idx="28">
                  <c:v>448.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DDE-47FF-A4BB-8EA3122E03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976256"/>
        <c:axId val="96974720"/>
      </c:lineChart>
      <c:catAx>
        <c:axId val="969624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96972800"/>
        <c:crosses val="autoZero"/>
        <c:auto val="1"/>
        <c:lblAlgn val="ctr"/>
        <c:lblOffset val="100"/>
        <c:noMultiLvlLbl val="0"/>
      </c:catAx>
      <c:valAx>
        <c:axId val="96972800"/>
        <c:scaling>
          <c:orientation val="minMax"/>
          <c:max val="500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Total Income </a:t>
                </a:r>
              </a:p>
              <a:p>
                <a:pPr>
                  <a:defRPr/>
                </a:pPr>
                <a:r>
                  <a:rPr lang="en-US"/>
                  <a:t>(INR Mio)</a:t>
                </a:r>
              </a:p>
            </c:rich>
          </c:tx>
          <c:overlay val="0"/>
        </c:title>
        <c:numFmt formatCode="0" sourceLinked="1"/>
        <c:majorTickMark val="out"/>
        <c:minorTickMark val="none"/>
        <c:tickLblPos val="nextTo"/>
        <c:crossAx val="96962432"/>
        <c:crosses val="autoZero"/>
        <c:crossBetween val="between"/>
      </c:valAx>
      <c:valAx>
        <c:axId val="96974720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crossAx val="96976256"/>
        <c:crosses val="max"/>
        <c:crossBetween val="between"/>
      </c:valAx>
      <c:catAx>
        <c:axId val="969762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6974720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sz="900"/>
            </a:pPr>
            <a:endParaRPr lang="en-US"/>
          </a:p>
        </c:txPr>
      </c:dTable>
      <c:spPr>
        <a:noFill/>
        <a:ln w="25400">
          <a:noFill/>
        </a:ln>
      </c:spPr>
    </c:plotArea>
    <c:plotVisOnly val="1"/>
    <c:dispBlanksAs val="gap"/>
    <c:showDLblsOverMax val="0"/>
  </c:chart>
  <c:spPr>
    <a:ln>
      <a:solidFill>
        <a:schemeClr val="tx2"/>
      </a:solidFill>
    </a:ln>
  </c:sp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189449686498015E-2"/>
          <c:y val="2.8645833333333332E-2"/>
          <c:w val="0.97362110062700402"/>
          <c:h val="0.767370406824146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venue in ₹ C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tx>
                <c:rich>
                  <a:bodyPr/>
                  <a:lstStyle/>
                  <a:p>
                    <a:r>
                      <a:rPr lang="en-US" sz="1197" b="1" i="0" u="none" strike="noStrike" baseline="0" dirty="0">
                        <a:effectLst/>
                      </a:rPr>
                      <a:t>₹1,900 to ₹1,95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B2A-4C86-90C9-B6A52B6F01F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2013-14</c:v>
                </c:pt>
                <c:pt idx="1">
                  <c:v>2014-15 (6 months)*</c:v>
                </c:pt>
                <c:pt idx="2">
                  <c:v>2015-16</c:v>
                </c:pt>
                <c:pt idx="3">
                  <c:v>2016-17</c:v>
                </c:pt>
                <c:pt idx="4">
                  <c:v>2017-18</c:v>
                </c:pt>
                <c:pt idx="5">
                  <c:v>2018-19 E</c:v>
                </c:pt>
              </c:strCache>
            </c:strRef>
          </c:cat>
          <c:val>
            <c:numRef>
              <c:f>Sheet1!$B$2:$B$7</c:f>
              <c:numCache>
                <c:formatCode>[$₹-4009]\ #,##0</c:formatCode>
                <c:ptCount val="6"/>
                <c:pt idx="0">
                  <c:v>682.577</c:v>
                </c:pt>
                <c:pt idx="1">
                  <c:v>461.70299999999997</c:v>
                </c:pt>
                <c:pt idx="2">
                  <c:v>1087.5440000000001</c:v>
                </c:pt>
                <c:pt idx="3">
                  <c:v>1148.817</c:v>
                </c:pt>
                <c:pt idx="4">
                  <c:v>1558.0630000000001</c:v>
                </c:pt>
                <c:pt idx="5">
                  <c:v>1913.141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15-4A38-88B6-BDFF28F83F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54297600"/>
        <c:axId val="95429989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EBIDTA%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00B0F0"/>
              </a:solidFill>
              <a:ln w="9525">
                <a:solidFill>
                  <a:srgbClr val="00B0F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039855484013274E-2"/>
                  <c:y val="-5.192947828577125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E15-4A38-88B6-BDFF28F83FB1}"/>
                </c:ext>
              </c:extLst>
            </c:dLbl>
            <c:dLbl>
              <c:idx val="1"/>
              <c:layout>
                <c:manualLayout>
                  <c:x val="-3.3821309019585931E-2"/>
                  <c:y val="-5.041284632649055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E15-4A38-88B6-BDFF28F83FB1}"/>
                </c:ext>
              </c:extLst>
            </c:dLbl>
            <c:dLbl>
              <c:idx val="2"/>
              <c:layout>
                <c:manualLayout>
                  <c:x val="-2.2880959521568302E-2"/>
                  <c:y val="2.84520155561058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E15-4A38-88B6-BDFF28F83FB1}"/>
                </c:ext>
              </c:extLst>
            </c:dLbl>
            <c:dLbl>
              <c:idx val="4"/>
              <c:layout>
                <c:manualLayout>
                  <c:x val="-3.433313031949882E-2"/>
                  <c:y val="-5.04127269066512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2414632354416126E-2"/>
                      <c:h val="5.08375032750890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FE15-4A38-88B6-BDFF28F83FB1}"/>
                </c:ext>
              </c:extLst>
            </c:dLbl>
            <c:dLbl>
              <c:idx val="5"/>
              <c:layout>
                <c:manualLayout>
                  <c:x val="-3.4589591437677397E-2"/>
                  <c:y val="-4.7838336614173228E-2"/>
                </c:manualLayout>
              </c:layout>
              <c:tx>
                <c:rich>
                  <a:bodyPr/>
                  <a:lstStyle/>
                  <a:p>
                    <a:fld id="{3F3152F7-7100-47E2-8D66-F1901489234C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</a:t>
                    </a:r>
                  </a:p>
                  <a:p>
                    <a:r>
                      <a:rPr lang="en-US" dirty="0"/>
                      <a:t>to 11.7%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FE15-4A38-88B6-BDFF28F83F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2013-14</c:v>
                </c:pt>
                <c:pt idx="1">
                  <c:v>2014-15 (6 months)*</c:v>
                </c:pt>
                <c:pt idx="2">
                  <c:v>2015-16</c:v>
                </c:pt>
                <c:pt idx="3">
                  <c:v>2016-17</c:v>
                </c:pt>
                <c:pt idx="4">
                  <c:v>2017-18</c:v>
                </c:pt>
                <c:pt idx="5">
                  <c:v>2018-19 E</c:v>
                </c:pt>
              </c:strCache>
            </c:strRef>
          </c:cat>
          <c:val>
            <c:numRef>
              <c:f>Sheet1!$C$2:$C$7</c:f>
              <c:numCache>
                <c:formatCode>0.0%</c:formatCode>
                <c:ptCount val="6"/>
                <c:pt idx="0">
                  <c:v>9.1499999999999998E-2</c:v>
                </c:pt>
                <c:pt idx="1">
                  <c:v>8.2100000000000006E-2</c:v>
                </c:pt>
                <c:pt idx="2">
                  <c:v>8.9499999999999996E-2</c:v>
                </c:pt>
                <c:pt idx="3">
                  <c:v>9.9400000000000002E-2</c:v>
                </c:pt>
                <c:pt idx="4">
                  <c:v>0.1101</c:v>
                </c:pt>
                <c:pt idx="5">
                  <c:v>0.11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E15-4A38-88B6-BDFF28F83FB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BT%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1.2722063559123416E-2"/>
                  <c:y val="4.282968653008699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E15-4A38-88B6-BDFF28F83FB1}"/>
                </c:ext>
              </c:extLst>
            </c:dLbl>
            <c:dLbl>
              <c:idx val="3"/>
              <c:layout>
                <c:manualLayout>
                  <c:x val="-1.7410784772559487E-2"/>
                  <c:y val="3.97964226115255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E15-4A38-88B6-BDFF28F83FB1}"/>
                </c:ext>
              </c:extLst>
            </c:dLbl>
            <c:dLbl>
              <c:idx val="5"/>
              <c:layout>
                <c:manualLayout>
                  <c:x val="-3.5311753933396958E-2"/>
                  <c:y val="-3.583333333333338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algn="l">
                      <a:defRPr sz="1197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8C2F380-A42C-40A8-AC78-932A782549A7}" type="VALUE">
                      <a:rPr lang="en-US" smtClean="0"/>
                      <a:pPr algn="l">
                        <a:defRPr b="1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n-US"/>
                      <a:t> </a:t>
                    </a:r>
                  </a:p>
                  <a:p>
                    <a:pPr algn="l">
                      <a:defRPr b="1">
                        <a:solidFill>
                          <a:schemeClr val="bg1"/>
                        </a:solidFill>
                      </a:defRPr>
                    </a:pPr>
                    <a:r>
                      <a:rPr lang="en-US"/>
                      <a:t>to 9.2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1197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B2A-4C86-90C9-B6A52B6F01F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2013-14</c:v>
                </c:pt>
                <c:pt idx="1">
                  <c:v>2014-15 (6 months)*</c:v>
                </c:pt>
                <c:pt idx="2">
                  <c:v>2015-16</c:v>
                </c:pt>
                <c:pt idx="3">
                  <c:v>2016-17</c:v>
                </c:pt>
                <c:pt idx="4">
                  <c:v>2017-18</c:v>
                </c:pt>
                <c:pt idx="5">
                  <c:v>2018-19 E</c:v>
                </c:pt>
              </c:strCache>
            </c:strRef>
          </c:cat>
          <c:val>
            <c:numRef>
              <c:f>Sheet1!$D$2:$D$7</c:f>
              <c:numCache>
                <c:formatCode>0.0%</c:formatCode>
                <c:ptCount val="6"/>
                <c:pt idx="0">
                  <c:v>3.7900000000000003E-2</c:v>
                </c:pt>
                <c:pt idx="1">
                  <c:v>3.5700000000000003E-2</c:v>
                </c:pt>
                <c:pt idx="2">
                  <c:v>4.7399999999999998E-2</c:v>
                </c:pt>
                <c:pt idx="3">
                  <c:v>6.4299999999999996E-2</c:v>
                </c:pt>
                <c:pt idx="4">
                  <c:v>8.2000000000000003E-2</c:v>
                </c:pt>
                <c:pt idx="5">
                  <c:v>8.95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E15-4A38-88B6-BDFF28F83F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54305472"/>
        <c:axId val="954304816"/>
      </c:lineChart>
      <c:catAx>
        <c:axId val="954297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4299896"/>
        <c:crosses val="autoZero"/>
        <c:auto val="1"/>
        <c:lblAlgn val="ctr"/>
        <c:lblOffset val="100"/>
        <c:noMultiLvlLbl val="0"/>
      </c:catAx>
      <c:valAx>
        <c:axId val="954299896"/>
        <c:scaling>
          <c:orientation val="minMax"/>
          <c:max val="2100"/>
          <c:min val="0"/>
        </c:scaling>
        <c:delete val="0"/>
        <c:axPos val="l"/>
        <c:numFmt formatCode="[$₹-4009]\ #,##0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4297600"/>
        <c:crosses val="autoZero"/>
        <c:crossBetween val="between"/>
      </c:valAx>
      <c:valAx>
        <c:axId val="954304816"/>
        <c:scaling>
          <c:orientation val="minMax"/>
          <c:max val="0.2"/>
        </c:scaling>
        <c:delete val="0"/>
        <c:axPos val="r"/>
        <c:numFmt formatCode="0.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4305472"/>
        <c:crosses val="max"/>
        <c:crossBetween val="between"/>
      </c:valAx>
      <c:catAx>
        <c:axId val="9543054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5430481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1322393863403186"/>
          <c:y val="0.87698859908136484"/>
          <c:w val="0.35436737422981684"/>
          <c:h val="5.009473425196850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bg1">
            <a:lumMod val="50000"/>
            <a:tint val="66000"/>
            <a:satMod val="160000"/>
          </a:schemeClr>
        </a:gs>
        <a:gs pos="50000">
          <a:schemeClr val="bg1">
            <a:lumMod val="50000"/>
            <a:tint val="44500"/>
            <a:satMod val="160000"/>
          </a:schemeClr>
        </a:gs>
        <a:gs pos="100000">
          <a:schemeClr val="bg1">
            <a:lumMod val="50000"/>
            <a:tint val="23500"/>
            <a:satMod val="160000"/>
          </a:schemeClr>
        </a:gs>
      </a:gsLst>
      <a:lin ang="18900000" scaled="1"/>
      <a:tileRect/>
    </a:gra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solidFill>
          <a:schemeClr val="bg1">
            <a:lumMod val="85000"/>
          </a:schemeClr>
        </a:solidFill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5046901341155777"/>
          <c:y val="5.8848562973632536E-2"/>
          <c:w val="0.84953098658844217"/>
          <c:h val="0.76737288318798669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scene3d>
              <a:camera prst="orthographicFront"/>
              <a:lightRig rig="threePt" dir="t">
                <a:rot lat="0" lon="0" rev="10800000"/>
              </a:lightRig>
            </a:scene3d>
          </c:spPr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0">
                    <a:schemeClr val="accent3">
                      <a:lumMod val="75000"/>
                      <a:shade val="30000"/>
                      <a:satMod val="115000"/>
                    </a:schemeClr>
                  </a:gs>
                  <a:gs pos="31000">
                    <a:schemeClr val="accent3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3">
                      <a:lumMod val="75000"/>
                      <a:shade val="100000"/>
                      <a:satMod val="11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1-A9EA-4882-B3DC-A5C937C14DA6}"/>
              </c:ext>
            </c:extLst>
          </c:dPt>
          <c:dPt>
            <c:idx val="1"/>
            <c:invertIfNegative val="0"/>
            <c:bubble3D val="0"/>
            <c:spPr>
              <a:solidFill>
                <a:srgbClr val="FFC000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4-A9EA-4882-B3DC-A5C937C14DA6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3-A9EA-4882-B3DC-A5C937C14DA6}"/>
              </c:ext>
            </c:extLst>
          </c:dPt>
          <c:dLbls>
            <c:dLbl>
              <c:idx val="0"/>
              <c:layout>
                <c:manualLayout>
                  <c:x val="2.3763645490338012E-3"/>
                  <c:y val="0.1876315238452306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9EA-4882-B3DC-A5C937C14DA6}"/>
                </c:ext>
              </c:extLst>
            </c:dLbl>
            <c:dLbl>
              <c:idx val="1"/>
              <c:layout>
                <c:manualLayout>
                  <c:x val="9.9818707663128139E-3"/>
                  <c:y val="0.2018489156598228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9EA-4882-B3DC-A5C937C14DA6}"/>
                </c:ext>
              </c:extLst>
            </c:dLbl>
            <c:dLbl>
              <c:idx val="2"/>
              <c:layout>
                <c:manualLayout>
                  <c:x val="2.649738247067749E-2"/>
                  <c:y val="-2.45849356290888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9EA-4882-B3DC-A5C937C14DA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YTD FY19</c:v>
                </c:pt>
                <c:pt idx="1">
                  <c:v>YTD FY18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11799999999999999</c:v>
                </c:pt>
                <c:pt idx="1">
                  <c:v>0.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EA-4882-B3DC-A5C937C14D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05174656"/>
        <c:axId val="205185792"/>
        <c:axId val="0"/>
      </c:bar3DChart>
      <c:catAx>
        <c:axId val="2051746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205185792"/>
        <c:crosses val="autoZero"/>
        <c:auto val="1"/>
        <c:lblAlgn val="ctr"/>
        <c:lblOffset val="100"/>
        <c:noMultiLvlLbl val="0"/>
      </c:catAx>
      <c:valAx>
        <c:axId val="205185792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2051746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 b="1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solidFill>
          <a:schemeClr val="bg1">
            <a:lumMod val="85000"/>
          </a:schemeClr>
        </a:solidFill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7678480742934236"/>
          <c:y val="0"/>
          <c:w val="0.81663624406621149"/>
          <c:h val="0.83797172345238324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40000"/>
                    <a:lumOff val="60000"/>
                    <a:shade val="30000"/>
                    <a:satMod val="115000"/>
                  </a:schemeClr>
                </a:gs>
                <a:gs pos="50000">
                  <a:schemeClr val="accent1">
                    <a:lumMod val="40000"/>
                    <a:lumOff val="60000"/>
                    <a:shade val="67500"/>
                    <a:satMod val="115000"/>
                  </a:schemeClr>
                </a:gs>
                <a:gs pos="100000">
                  <a:schemeClr val="accent1">
                    <a:lumMod val="40000"/>
                    <a:lumOff val="60000"/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scene3d>
              <a:camera prst="orthographicFront"/>
              <a:lightRig rig="threePt" dir="t">
                <a:rot lat="0" lon="0" rev="10800000"/>
              </a:lightRig>
            </a:scene3d>
          </c:spPr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0">
                    <a:schemeClr val="accent1">
                      <a:lumMod val="60000"/>
                      <a:lumOff val="40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60000"/>
                      <a:lumOff val="40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60000"/>
                      <a:lumOff val="40000"/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1-612C-48C8-8D0E-0E60375E5840}"/>
              </c:ext>
            </c:extLst>
          </c:dPt>
          <c:dPt>
            <c:idx val="1"/>
            <c:invertIfNegative val="0"/>
            <c:bubble3D val="0"/>
            <c:spPr>
              <a:solidFill>
                <a:srgbClr val="FFC000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4-612C-48C8-8D0E-0E60375E5840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3-612C-48C8-8D0E-0E60375E5840}"/>
              </c:ext>
            </c:extLst>
          </c:dPt>
          <c:dLbls>
            <c:dLbl>
              <c:idx val="0"/>
              <c:layout>
                <c:manualLayout>
                  <c:x val="4.5695200596629878E-3"/>
                  <c:y val="0.2288519539494367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12C-48C8-8D0E-0E60375E5840}"/>
                </c:ext>
              </c:extLst>
            </c:dLbl>
            <c:dLbl>
              <c:idx val="1"/>
              <c:layout>
                <c:manualLayout>
                  <c:x val="5.5959050966821319E-3"/>
                  <c:y val="0.1626272465214703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12C-48C8-8D0E-0E60375E5840}"/>
                </c:ext>
              </c:extLst>
            </c:dLbl>
            <c:dLbl>
              <c:idx val="2"/>
              <c:layout>
                <c:manualLayout>
                  <c:x val="2.649738247067749E-2"/>
                  <c:y val="-2.45849356290888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12C-48C8-8D0E-0E60375E58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YTD FY19</c:v>
                </c:pt>
                <c:pt idx="1">
                  <c:v>YTD FY18</c:v>
                </c:pt>
              </c:strCache>
            </c:strRef>
          </c:cat>
          <c:val>
            <c:numRef>
              <c:f>Sheet1!$B$2:$B$3</c:f>
              <c:numCache>
                <c:formatCode>[$₹-4009]\ #,##0</c:formatCode>
                <c:ptCount val="2"/>
                <c:pt idx="0">
                  <c:v>14604.38</c:v>
                </c:pt>
                <c:pt idx="1">
                  <c:v>10880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12C-48C8-8D0E-0E60375E58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41207808"/>
        <c:axId val="142946304"/>
        <c:axId val="0"/>
      </c:bar3DChart>
      <c:catAx>
        <c:axId val="1412078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42946304"/>
        <c:crosses val="autoZero"/>
        <c:auto val="1"/>
        <c:lblAlgn val="ctr"/>
        <c:lblOffset val="100"/>
        <c:noMultiLvlLbl val="0"/>
      </c:catAx>
      <c:valAx>
        <c:axId val="142946304"/>
        <c:scaling>
          <c:orientation val="minMax"/>
        </c:scaling>
        <c:delete val="1"/>
        <c:axPos val="l"/>
        <c:numFmt formatCode="[$₹-4009]\ #,##0" sourceLinked="1"/>
        <c:majorTickMark val="out"/>
        <c:minorTickMark val="none"/>
        <c:tickLblPos val="nextTo"/>
        <c:crossAx val="1412078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 b="1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solidFill>
          <a:schemeClr val="bg1">
            <a:lumMod val="85000"/>
          </a:schemeClr>
        </a:solidFill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643390089718155E-2"/>
          <c:y val="3.5315561490621081E-2"/>
          <c:w val="0.96356603858343437"/>
          <c:h val="0.79090588467099809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venue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40000"/>
                    <a:lumOff val="60000"/>
                    <a:shade val="30000"/>
                    <a:satMod val="115000"/>
                  </a:schemeClr>
                </a:gs>
                <a:gs pos="50000">
                  <a:schemeClr val="accent1">
                    <a:lumMod val="40000"/>
                    <a:lumOff val="60000"/>
                    <a:shade val="67500"/>
                    <a:satMod val="115000"/>
                  </a:schemeClr>
                </a:gs>
                <a:gs pos="100000">
                  <a:schemeClr val="accent1">
                    <a:lumMod val="40000"/>
                    <a:lumOff val="60000"/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scene3d>
              <a:camera prst="orthographicFront"/>
              <a:lightRig rig="threePt" dir="t">
                <a:rot lat="0" lon="0" rev="10800000"/>
              </a:lightRig>
            </a:scene3d>
          </c:spPr>
          <c:invertIfNegative val="0"/>
          <c:dPt>
            <c:idx val="1"/>
            <c:invertIfNegative val="0"/>
            <c:bubble3D val="0"/>
            <c:spPr>
              <a:solidFill>
                <a:srgbClr val="FFC000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3-6FC0-4FBD-8CA7-EC88AB801690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1-6FC0-4FBD-8CA7-EC88AB801690}"/>
              </c:ext>
            </c:extLst>
          </c:dPt>
          <c:dLbls>
            <c:dLbl>
              <c:idx val="0"/>
              <c:layout>
                <c:manualLayout>
                  <c:x val="-6.372326566609735E-3"/>
                  <c:y val="0.2033201915005716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FC0-4FBD-8CA7-EC88AB801690}"/>
                </c:ext>
              </c:extLst>
            </c:dLbl>
            <c:dLbl>
              <c:idx val="1"/>
              <c:layout>
                <c:manualLayout>
                  <c:x val="7.2463807975767774E-3"/>
                  <c:y val="0.2048272918580138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FC0-4FBD-8CA7-EC88AB801690}"/>
                </c:ext>
              </c:extLst>
            </c:dLbl>
            <c:dLbl>
              <c:idx val="2"/>
              <c:layout>
                <c:manualLayout>
                  <c:x val="-3.7745501151012256E-3"/>
                  <c:y val="0.1872121299342867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FC0-4FBD-8CA7-EC88AB8016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2"/>
                <c:pt idx="0">
                  <c:v>Q3 FY19 </c:v>
                </c:pt>
                <c:pt idx="1">
                  <c:v>Q3 FY18</c:v>
                </c:pt>
              </c:strCache>
            </c:strRef>
          </c:cat>
          <c:val>
            <c:numRef>
              <c:f>Sheet1!$B$2:$B$4</c:f>
              <c:numCache>
                <c:formatCode>[$₹-4009]\ #,##0</c:formatCode>
                <c:ptCount val="2"/>
                <c:pt idx="0">
                  <c:v>4864.9399999999996</c:v>
                </c:pt>
                <c:pt idx="1">
                  <c:v>4093.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FC0-4FBD-8CA7-EC88AB8016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48356096"/>
        <c:axId val="149054592"/>
        <c:axId val="0"/>
      </c:bar3DChart>
      <c:catAx>
        <c:axId val="1483560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49054592"/>
        <c:crosses val="autoZero"/>
        <c:auto val="1"/>
        <c:lblAlgn val="ctr"/>
        <c:lblOffset val="100"/>
        <c:noMultiLvlLbl val="0"/>
      </c:catAx>
      <c:valAx>
        <c:axId val="149054592"/>
        <c:scaling>
          <c:orientation val="minMax"/>
        </c:scaling>
        <c:delete val="1"/>
        <c:axPos val="l"/>
        <c:numFmt formatCode="[$₹-4009]\ #,##0" sourceLinked="1"/>
        <c:majorTickMark val="out"/>
        <c:minorTickMark val="none"/>
        <c:tickLblPos val="nextTo"/>
        <c:crossAx val="148356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 b="1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solidFill>
          <a:schemeClr val="bg1">
            <a:lumMod val="85000"/>
          </a:schemeClr>
        </a:solidFill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643390089718155E-2"/>
          <c:y val="1.8680679434701336E-3"/>
          <c:w val="0.92713219820563686"/>
          <c:h val="0.83797172345238324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scene3d>
              <a:camera prst="orthographicFront"/>
              <a:lightRig rig="threePt" dir="t">
                <a:rot lat="0" lon="0" rev="10800000"/>
              </a:lightRig>
            </a:scene3d>
          </c:spPr>
          <c:invertIfNegative val="0"/>
          <c:dPt>
            <c:idx val="1"/>
            <c:invertIfNegative val="0"/>
            <c:bubble3D val="0"/>
            <c:spPr>
              <a:solidFill>
                <a:srgbClr val="FFC000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3-BC8A-4E48-AAA2-3883C412E41A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1-BC8A-4E48-AAA2-3883C412E41A}"/>
              </c:ext>
            </c:extLst>
          </c:dPt>
          <c:dLbls>
            <c:dLbl>
              <c:idx val="0"/>
              <c:layout>
                <c:manualLayout>
                  <c:x val="-1.7486188352330084E-3"/>
                  <c:y val="0.226853192983583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C8A-4E48-AAA2-3883C412E41A}"/>
                </c:ext>
              </c:extLst>
            </c:dLbl>
            <c:dLbl>
              <c:idx val="1"/>
              <c:layout>
                <c:manualLayout>
                  <c:x val="2.5749316300497402E-3"/>
                  <c:y val="0.2353300148301145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C8A-4E48-AAA2-3883C412E41A}"/>
                </c:ext>
              </c:extLst>
            </c:dLbl>
            <c:dLbl>
              <c:idx val="2"/>
              <c:layout>
                <c:manualLayout>
                  <c:x val="1.0180239707798763E-2"/>
                  <c:y val="0.2342781329003096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C8A-4E48-AAA2-3883C412E41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2"/>
                <c:pt idx="0">
                  <c:v>Q3 FY19</c:v>
                </c:pt>
                <c:pt idx="1">
                  <c:v>Q3 FY18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2"/>
                <c:pt idx="0">
                  <c:v>0.11600000000000001</c:v>
                </c:pt>
                <c:pt idx="1">
                  <c:v>0.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C8A-4E48-AAA2-3883C412E4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96519808"/>
        <c:axId val="198725632"/>
        <c:axId val="0"/>
      </c:bar3DChart>
      <c:catAx>
        <c:axId val="1965198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98725632"/>
        <c:crosses val="autoZero"/>
        <c:auto val="1"/>
        <c:lblAlgn val="ctr"/>
        <c:lblOffset val="100"/>
        <c:noMultiLvlLbl val="0"/>
      </c:catAx>
      <c:valAx>
        <c:axId val="198725632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1965198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 b="1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solidFill>
          <a:schemeClr val="bg1">
            <a:lumMod val="85000"/>
          </a:schemeClr>
        </a:solidFill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643390089718155E-2"/>
          <c:y val="1.8680679434701336E-3"/>
          <c:w val="0.92713219820563686"/>
          <c:h val="0.83797172345238324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scene3d>
              <a:camera prst="orthographicFront"/>
              <a:lightRig rig="threePt" dir="t">
                <a:rot lat="0" lon="0" rev="10800000"/>
              </a:lightRig>
            </a:scene3d>
          </c:spPr>
          <c:invertIfNegative val="0"/>
          <c:dPt>
            <c:idx val="1"/>
            <c:invertIfNegative val="0"/>
            <c:bubble3D val="0"/>
            <c:spPr>
              <a:solidFill>
                <a:srgbClr val="FFC000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3-6D26-48A5-8EFF-D9CF04A47913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1-6D26-48A5-8EFF-D9CF04A47913}"/>
              </c:ext>
            </c:extLst>
          </c:dPt>
          <c:dLbls>
            <c:dLbl>
              <c:idx val="0"/>
              <c:layout>
                <c:manualLayout>
                  <c:x val="4.722268261918741E-3"/>
                  <c:y val="0.242541242974843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D26-48A5-8EFF-D9CF04A47913}"/>
                </c:ext>
              </c:extLst>
            </c:dLbl>
            <c:dLbl>
              <c:idx val="1"/>
              <c:layout>
                <c:manualLayout>
                  <c:x val="7.0469764092595038E-3"/>
                  <c:y val="0.1940045818321522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D26-48A5-8EFF-D9CF04A47913}"/>
                </c:ext>
              </c:extLst>
            </c:dLbl>
            <c:dLbl>
              <c:idx val="2"/>
              <c:layout>
                <c:manualLayout>
                  <c:x val="2.7127525589488465E-3"/>
                  <c:y val="0.1793677961066163"/>
                </c:manualLayout>
              </c:layout>
              <c:spPr/>
              <c:txPr>
                <a:bodyPr/>
                <a:lstStyle/>
                <a:p>
                  <a:pPr>
                    <a:defRPr sz="1200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D26-48A5-8EFF-D9CF04A4791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2"/>
                <c:pt idx="0">
                  <c:v>Q3 FY19</c:v>
                </c:pt>
                <c:pt idx="1">
                  <c:v>Q3 FY18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2"/>
                <c:pt idx="0">
                  <c:v>9.1999999999999998E-2</c:v>
                </c:pt>
                <c:pt idx="1">
                  <c:v>8.300000000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D26-48A5-8EFF-D9CF04A479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00996736"/>
        <c:axId val="201457664"/>
        <c:axId val="0"/>
      </c:bar3DChart>
      <c:catAx>
        <c:axId val="2009967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201457664"/>
        <c:crosses val="autoZero"/>
        <c:auto val="1"/>
        <c:lblAlgn val="ctr"/>
        <c:lblOffset val="100"/>
        <c:noMultiLvlLbl val="0"/>
      </c:catAx>
      <c:valAx>
        <c:axId val="201457664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2009967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 b="1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solidFill>
          <a:schemeClr val="bg1">
            <a:lumMod val="85000"/>
          </a:schemeClr>
        </a:solidFill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643390089718155E-2"/>
          <c:y val="0.11168848976808567"/>
          <c:w val="0.88083590681760227"/>
          <c:h val="0.66539654342827037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FFC000"/>
            </a:solidFill>
            <a:scene3d>
              <a:camera prst="orthographicFront"/>
              <a:lightRig rig="threePt" dir="t">
                <a:rot lat="0" lon="0" rev="10800000"/>
              </a:lightRig>
            </a:scene3d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1-A9EA-4882-B3DC-A5C937C14DA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9EA-4882-B3DC-A5C937C14DA6}"/>
              </c:ext>
            </c:extLst>
          </c:dPt>
          <c:dLbls>
            <c:dLbl>
              <c:idx val="0"/>
              <c:layout>
                <c:manualLayout>
                  <c:x val="4.2459346300060825E-2"/>
                  <c:y val="-3.9854157157213424E-2"/>
                </c:manualLayout>
              </c:layout>
              <c:tx>
                <c:rich>
                  <a:bodyPr/>
                  <a:lstStyle/>
                  <a:p>
                    <a:fld id="{E5C41195-DE90-4A31-A6C5-53BE083E3B1D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to</a:t>
                    </a:r>
                    <a:r>
                      <a:rPr lang="en-US" baseline="0" dirty="0"/>
                      <a:t> 11.7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9EA-4882-B3DC-A5C937C14DA6}"/>
                </c:ext>
              </c:extLst>
            </c:dLbl>
            <c:dLbl>
              <c:idx val="1"/>
              <c:layout>
                <c:manualLayout>
                  <c:x val="3.739427723201421E-2"/>
                  <c:y val="-4.91697668256328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9EA-4882-B3DC-A5C937C14DA6}"/>
                </c:ext>
              </c:extLst>
            </c:dLbl>
            <c:dLbl>
              <c:idx val="2"/>
              <c:layout>
                <c:manualLayout>
                  <c:x val="2.649738247067749E-2"/>
                  <c:y val="-2.45849356290888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9EA-4882-B3DC-A5C937C14DA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2"/>
                <c:pt idx="0">
                  <c:v>FY19 E</c:v>
                </c:pt>
                <c:pt idx="1">
                  <c:v>FY18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2"/>
                <c:pt idx="0">
                  <c:v>0.115</c:v>
                </c:pt>
                <c:pt idx="1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EA-4882-B3DC-A5C937C14D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47538048"/>
        <c:axId val="247840128"/>
        <c:axId val="0"/>
      </c:bar3DChart>
      <c:catAx>
        <c:axId val="2475380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247840128"/>
        <c:crosses val="autoZero"/>
        <c:auto val="1"/>
        <c:lblAlgn val="ctr"/>
        <c:lblOffset val="100"/>
        <c:noMultiLvlLbl val="0"/>
      </c:catAx>
      <c:valAx>
        <c:axId val="247840128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2475380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 b="1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solidFill>
          <a:schemeClr val="bg1">
            <a:lumMod val="85000"/>
          </a:schemeClr>
        </a:solidFill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643390089718155E-2"/>
          <c:y val="1.8680679434701336E-3"/>
          <c:w val="0.92713219820563686"/>
          <c:h val="0.83797172345238324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lumMod val="40000"/>
                    <a:lumOff val="60000"/>
                    <a:shade val="30000"/>
                    <a:satMod val="115000"/>
                  </a:schemeClr>
                </a:gs>
                <a:gs pos="50000">
                  <a:schemeClr val="accent1">
                    <a:lumMod val="40000"/>
                    <a:lumOff val="60000"/>
                    <a:shade val="67500"/>
                    <a:satMod val="115000"/>
                  </a:schemeClr>
                </a:gs>
                <a:gs pos="100000">
                  <a:schemeClr val="accent1">
                    <a:lumMod val="40000"/>
                    <a:lumOff val="60000"/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scene3d>
              <a:camera prst="orthographicFront"/>
              <a:lightRig rig="threePt" dir="t">
                <a:rot lat="0" lon="0" rev="10800000"/>
              </a:lightRig>
            </a:scene3d>
          </c:spPr>
          <c:invertIfNegative val="0"/>
          <c:dPt>
            <c:idx val="0"/>
            <c:invertIfNegative val="0"/>
            <c:bubble3D val="0"/>
            <c:spPr>
              <a:solidFill>
                <a:srgbClr val="00B0F0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1-612C-48C8-8D0E-0E60375E5840}"/>
              </c:ext>
            </c:extLst>
          </c:dPt>
          <c:dPt>
            <c:idx val="1"/>
            <c:invertIfNegative val="0"/>
            <c:bubble3D val="0"/>
            <c:spPr>
              <a:solidFill>
                <a:srgbClr val="FFC000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4-612C-48C8-8D0E-0E60375E5840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3-612C-48C8-8D0E-0E60375E5840}"/>
              </c:ext>
            </c:extLst>
          </c:dPt>
          <c:dLbls>
            <c:dLbl>
              <c:idx val="0"/>
              <c:layout>
                <c:manualLayout>
                  <c:x val="3.0885279965004373E-2"/>
                  <c:y val="-6.8410499914207445E-2"/>
                </c:manualLayout>
              </c:layout>
              <c:tx>
                <c:rich>
                  <a:bodyPr/>
                  <a:lstStyle/>
                  <a:p>
                    <a:r>
                      <a:rPr lang="en-US" sz="1200" b="1" i="0" u="none" strike="noStrike" baseline="0" dirty="0">
                        <a:effectLst/>
                      </a:rPr>
                      <a:t>₹1,9,000 to 19,50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12C-48C8-8D0E-0E60375E5840}"/>
                </c:ext>
              </c:extLst>
            </c:dLbl>
            <c:dLbl>
              <c:idx val="1"/>
              <c:layout>
                <c:manualLayout>
                  <c:x val="3.4104681949282005E-2"/>
                  <c:y val="-7.27027683086442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12C-48C8-8D0E-0E60375E5840}"/>
                </c:ext>
              </c:extLst>
            </c:dLbl>
            <c:dLbl>
              <c:idx val="2"/>
              <c:layout>
                <c:manualLayout>
                  <c:x val="2.649738247067749E-2"/>
                  <c:y val="-2.45849356290888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12C-48C8-8D0E-0E60375E58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2"/>
                <c:pt idx="0">
                  <c:v>FY19 E</c:v>
                </c:pt>
                <c:pt idx="1">
                  <c:v>FY18 </c:v>
                </c:pt>
              </c:strCache>
            </c:strRef>
          </c:cat>
          <c:val>
            <c:numRef>
              <c:f>Sheet1!$B$2:$B$5</c:f>
              <c:numCache>
                <c:formatCode>[$₹-4009]\ #,##0</c:formatCode>
                <c:ptCount val="2"/>
                <c:pt idx="0">
                  <c:v>19131</c:v>
                </c:pt>
                <c:pt idx="1">
                  <c:v>15580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12C-48C8-8D0E-0E60375E58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48665216"/>
        <c:axId val="248666752"/>
        <c:axId val="0"/>
      </c:bar3DChart>
      <c:catAx>
        <c:axId val="2486652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248666752"/>
        <c:crosses val="autoZero"/>
        <c:auto val="1"/>
        <c:lblAlgn val="ctr"/>
        <c:lblOffset val="100"/>
        <c:noMultiLvlLbl val="0"/>
      </c:catAx>
      <c:valAx>
        <c:axId val="248666752"/>
        <c:scaling>
          <c:orientation val="minMax"/>
        </c:scaling>
        <c:delete val="1"/>
        <c:axPos val="l"/>
        <c:numFmt formatCode="[$₹-4009]\ #,##0" sourceLinked="1"/>
        <c:majorTickMark val="out"/>
        <c:minorTickMark val="none"/>
        <c:tickLblPos val="nextTo"/>
        <c:crossAx val="2486652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 b="1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  <c:spPr>
        <a:solidFill>
          <a:schemeClr val="bg1">
            <a:lumMod val="85000"/>
          </a:schemeClr>
        </a:solidFill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643390089718155E-2"/>
          <c:y val="0.11168848976808567"/>
          <c:w val="0.88083590681760227"/>
          <c:h val="0.66539654342827037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FFC000"/>
            </a:solidFill>
            <a:scene3d>
              <a:camera prst="orthographicFront"/>
              <a:lightRig rig="threePt" dir="t">
                <a:rot lat="0" lon="0" rev="10800000"/>
              </a:lightRig>
            </a:scene3d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scene3d>
                <a:camera prst="orthographicFront"/>
                <a:lightRig rig="threePt" dir="t">
                  <a:rot lat="0" lon="0" rev="108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1-689A-4181-A264-B3AEC1C06F5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89A-4181-A264-B3AEC1C06F58}"/>
              </c:ext>
            </c:extLst>
          </c:dPt>
          <c:dLbls>
            <c:dLbl>
              <c:idx val="0"/>
              <c:layout>
                <c:manualLayout>
                  <c:x val="4.2459346300060825E-2"/>
                  <c:y val="-3.9854157157213424E-2"/>
                </c:manualLayout>
              </c:layout>
              <c:tx>
                <c:rich>
                  <a:bodyPr/>
                  <a:lstStyle/>
                  <a:p>
                    <a:fld id="{27C1988C-EEFF-4BA1-BB48-A70D604B6FD0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to 9.2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89A-4181-A264-B3AEC1C06F58}"/>
                </c:ext>
              </c:extLst>
            </c:dLbl>
            <c:dLbl>
              <c:idx val="1"/>
              <c:layout>
                <c:manualLayout>
                  <c:x val="3.739427723201421E-2"/>
                  <c:y val="-4.91697668256328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89A-4181-A264-B3AEC1C06F58}"/>
                </c:ext>
              </c:extLst>
            </c:dLbl>
            <c:dLbl>
              <c:idx val="2"/>
              <c:layout>
                <c:manualLayout>
                  <c:x val="2.649738247067749E-2"/>
                  <c:y val="-2.45849356290888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89A-4181-A264-B3AEC1C06F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2"/>
                <c:pt idx="0">
                  <c:v>FY19 E</c:v>
                </c:pt>
                <c:pt idx="1">
                  <c:v>FY18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2"/>
                <c:pt idx="0">
                  <c:v>0.09</c:v>
                </c:pt>
                <c:pt idx="1">
                  <c:v>8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89A-4181-A264-B3AEC1C06F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47538048"/>
        <c:axId val="247840128"/>
        <c:axId val="0"/>
      </c:bar3DChart>
      <c:catAx>
        <c:axId val="2475380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247840128"/>
        <c:crosses val="autoZero"/>
        <c:auto val="1"/>
        <c:lblAlgn val="ctr"/>
        <c:lblOffset val="100"/>
        <c:noMultiLvlLbl val="0"/>
      </c:catAx>
      <c:valAx>
        <c:axId val="247840128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2475380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 b="1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226"/>
          </a:xfrm>
          <a:prstGeom prst="rect">
            <a:avLst/>
          </a:prstGeom>
        </p:spPr>
        <p:txBody>
          <a:bodyPr vert="horz" lIns="96103" tIns="48052" rIns="96103" bIns="48052" rtlCol="0"/>
          <a:lstStyle>
            <a:lvl1pPr algn="l" defTabSz="1281102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226"/>
          </a:xfrm>
          <a:prstGeom prst="rect">
            <a:avLst/>
          </a:prstGeom>
        </p:spPr>
        <p:txBody>
          <a:bodyPr vert="horz" lIns="96103" tIns="48052" rIns="96103" bIns="48052" rtlCol="0"/>
          <a:lstStyle>
            <a:lvl1pPr algn="r" defTabSz="1281102" fontAlgn="auto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54A03DD-4010-9D4F-9845-4BDD0951AD14}" type="datetimeFigureOut">
              <a:rPr lang="en-US"/>
              <a:pPr>
                <a:defRPr/>
              </a:pPr>
              <a:t>2/18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325"/>
            <a:ext cx="3169920" cy="480226"/>
          </a:xfrm>
          <a:prstGeom prst="rect">
            <a:avLst/>
          </a:prstGeom>
        </p:spPr>
        <p:txBody>
          <a:bodyPr vert="horz" lIns="96103" tIns="48052" rIns="96103" bIns="48052" rtlCol="0" anchor="b"/>
          <a:lstStyle>
            <a:lvl1pPr algn="l" defTabSz="1281102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325"/>
            <a:ext cx="3169920" cy="480226"/>
          </a:xfrm>
          <a:prstGeom prst="rect">
            <a:avLst/>
          </a:prstGeom>
        </p:spPr>
        <p:txBody>
          <a:bodyPr vert="horz" lIns="96103" tIns="48052" rIns="96103" bIns="48052" rtlCol="0" anchor="b"/>
          <a:lstStyle>
            <a:lvl1pPr algn="r" defTabSz="1281102" fontAlgn="auto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DFCF029-5A96-5C49-8793-4BF38F87DC6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529636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226"/>
          </a:xfrm>
          <a:prstGeom prst="rect">
            <a:avLst/>
          </a:prstGeom>
        </p:spPr>
        <p:txBody>
          <a:bodyPr vert="horz" lIns="96103" tIns="48052" rIns="96103" bIns="48052" rtlCol="0"/>
          <a:lstStyle>
            <a:lvl1pPr algn="l" defTabSz="1281102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226"/>
          </a:xfrm>
          <a:prstGeom prst="rect">
            <a:avLst/>
          </a:prstGeom>
        </p:spPr>
        <p:txBody>
          <a:bodyPr vert="horz" lIns="96103" tIns="48052" rIns="96103" bIns="48052" rtlCol="0"/>
          <a:lstStyle>
            <a:lvl1pPr algn="r" defTabSz="1281102" fontAlgn="auto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B6887107-E6B5-1D43-87D2-9C1B832B8140}" type="datetimeFigureOut">
              <a:rPr lang="en-US"/>
              <a:pPr>
                <a:defRPr/>
              </a:pPr>
              <a:t>2/18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19138"/>
            <a:ext cx="6397625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103" tIns="48052" rIns="96103" bIns="48052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1313"/>
            <a:ext cx="5852160" cy="4320375"/>
          </a:xfrm>
          <a:prstGeom prst="rect">
            <a:avLst/>
          </a:prstGeom>
        </p:spPr>
        <p:txBody>
          <a:bodyPr vert="horz" lIns="96103" tIns="48052" rIns="96103" bIns="48052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325"/>
            <a:ext cx="3169920" cy="480226"/>
          </a:xfrm>
          <a:prstGeom prst="rect">
            <a:avLst/>
          </a:prstGeom>
        </p:spPr>
        <p:txBody>
          <a:bodyPr vert="horz" lIns="96103" tIns="48052" rIns="96103" bIns="48052" rtlCol="0" anchor="b"/>
          <a:lstStyle>
            <a:lvl1pPr algn="l" defTabSz="1281102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325"/>
            <a:ext cx="3169920" cy="480226"/>
          </a:xfrm>
          <a:prstGeom prst="rect">
            <a:avLst/>
          </a:prstGeom>
        </p:spPr>
        <p:txBody>
          <a:bodyPr vert="horz" lIns="96103" tIns="48052" rIns="96103" bIns="48052" rtlCol="0" anchor="b"/>
          <a:lstStyle>
            <a:lvl1pPr algn="r" defTabSz="1281102" fontAlgn="auto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130F061-EDB8-FB45-A6E6-B5E3827CFF6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616181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608013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ヒラギノ角ゴ Pro W3" charset="0"/>
        <a:cs typeface="ヒラギノ角ゴ Pro W3" charset="0"/>
      </a:defRPr>
    </a:lvl1pPr>
    <a:lvl2pPr marL="608013" algn="l" defTabSz="608013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ヒラギノ角ゴ Pro W3" charset="0"/>
        <a:cs typeface="+mn-cs"/>
      </a:defRPr>
    </a:lvl2pPr>
    <a:lvl3pPr marL="1217613" algn="l" defTabSz="608013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ヒラギノ角ゴ Pro W3" charset="0"/>
        <a:cs typeface="+mn-cs"/>
      </a:defRPr>
    </a:lvl3pPr>
    <a:lvl4pPr marL="1827213" algn="l" defTabSz="608013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ヒラギノ角ゴ Pro W3" charset="0"/>
        <a:cs typeface="+mn-cs"/>
      </a:defRPr>
    </a:lvl4pPr>
    <a:lvl5pPr marL="2436813" algn="l" defTabSz="608013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ヒラギノ角ゴ Pro W3" charset="0"/>
        <a:cs typeface="+mn-cs"/>
      </a:defRPr>
    </a:lvl5pPr>
    <a:lvl6pPr marL="3047340" algn="l" defTabSz="60946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808" algn="l" defTabSz="60946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275" algn="l" defTabSz="60946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744" algn="l" defTabSz="60946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30F061-EDB8-FB45-A6E6-B5E3827CFF60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06277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19138"/>
            <a:ext cx="6397625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dirty="0">
              <a:ea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defTabSz="946430" eaLnBrk="0" hangingPunct="0">
              <a:defRPr sz="2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64989" indent="-294226" defTabSz="946430" eaLnBrk="0" hangingPunct="0">
              <a:defRPr sz="2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76907" indent="-235381" defTabSz="946430" eaLnBrk="0" hangingPunct="0">
              <a:defRPr sz="2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47670" indent="-235381" defTabSz="946430" eaLnBrk="0" hangingPunct="0">
              <a:defRPr sz="2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118432" indent="-235381" defTabSz="946430" eaLnBrk="0" hangingPunct="0">
              <a:defRPr sz="2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89195" indent="-235381" defTabSz="946430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3059957" indent="-235381" defTabSz="946430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530720" indent="-235381" defTabSz="946430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4001483" indent="-235381" defTabSz="946430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fld id="{008A9F35-7881-41F3-9C91-6E6E2C8B6C2C}" type="slidenum">
              <a:rPr lang="en-US" altLang="en-US" sz="1300"/>
              <a:pPr eaLnBrk="1" hangingPunct="1">
                <a:defRPr/>
              </a:pPr>
              <a:t>4</a:t>
            </a:fld>
            <a:endParaRPr lang="en-US" altLang="en-US" sz="13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30F061-EDB8-FB45-A6E6-B5E3827CFF60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81008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130F061-EDB8-FB45-A6E6-B5E3827CFF60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6448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.xml"/><Relationship Id="rId7" Type="http://schemas.openxmlformats.org/officeDocument/2006/relationships/image" Target="../media/image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4.jpeg"/><Relationship Id="rId4" Type="http://schemas.openxmlformats.org/officeDocument/2006/relationships/slideMaster" Target="../slideMasters/slideMaster1.xml"/><Relationship Id="rId9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8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564300" y="-76200"/>
            <a:ext cx="10924801" cy="1828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ts val="4740"/>
              </a:lnSpc>
              <a:defRPr sz="4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[ARIAL, 42, BOLD]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65005" y="1992868"/>
            <a:ext cx="10924093" cy="369332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Presenter’s Name [Arial, 20pt]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64296" y="6265334"/>
            <a:ext cx="4062942" cy="406398"/>
          </a:xfrm>
          <a:prstGeom prst="rect">
            <a:avLst/>
          </a:prstGeom>
        </p:spPr>
        <p:txBody>
          <a:bodyPr vert="horz" l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40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date [Arial, 14pt]</a:t>
            </a:r>
          </a:p>
          <a:p>
            <a:pPr lvl="0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10723846" y="6635234"/>
            <a:ext cx="1075614" cy="184666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r" defTabSz="914400"/>
            <a:r>
              <a:rPr lang="en-US" sz="600" dirty="0">
                <a:solidFill>
                  <a:srgbClr val="7F7F7F"/>
                </a:solidFill>
              </a:rPr>
              <a:t>Proprietary © Meritor, Inc. 2016</a:t>
            </a:r>
            <a:endParaRPr lang="en-US" sz="600" dirty="0">
              <a:solidFill>
                <a:srgbClr val="7F7F7F"/>
              </a:solidFill>
              <a:ea typeface="ＭＳ Ｐゴシック" pitchFamily="34" charset="-128"/>
              <a:cs typeface="+mn-cs"/>
            </a:endParaRPr>
          </a:p>
        </p:txBody>
      </p:sp>
      <p:pic>
        <p:nvPicPr>
          <p:cNvPr id="14" name="Picture 1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9601" y="5713626"/>
            <a:ext cx="1181503" cy="860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55220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One Line Title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2" y="1592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1592"/>
                        <a:ext cx="21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74012" y="6302382"/>
            <a:ext cx="190450" cy="307975"/>
          </a:xfrm>
          <a:prstGeom prst="rect">
            <a:avLst/>
          </a:prstGeom>
          <a:noFill/>
        </p:spPr>
        <p:txBody>
          <a:bodyPr lIns="0" rIns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rgbClr val="B2082A"/>
                </a:solidFill>
                <a:latin typeface="Arial"/>
                <a:ea typeface="ＭＳ Ｐゴシック" pitchFamily="34" charset="-128"/>
                <a:cs typeface="+mn-cs"/>
              </a:rPr>
              <a:t>|</a:t>
            </a:r>
          </a:p>
        </p:txBody>
      </p:sp>
      <p:pic>
        <p:nvPicPr>
          <p:cNvPr id="6" name="Picture 2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938472" y="6310313"/>
            <a:ext cx="2750950" cy="379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5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43299" y="6656388"/>
            <a:ext cx="1220999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1"/>
          <p:cNvSpPr txBox="1">
            <a:spLocks/>
          </p:cNvSpPr>
          <p:nvPr userDrawn="1"/>
        </p:nvSpPr>
        <p:spPr>
          <a:xfrm>
            <a:off x="67716" y="6338888"/>
            <a:ext cx="507868" cy="27781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EB917E9-2B20-4F3F-9B63-D2A8A2D2A2CF}" type="slidenum">
              <a:rPr lang="en-US" smtClean="0">
                <a:solidFill>
                  <a:srgbClr val="646568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srgbClr val="646568"/>
              </a:solidFill>
            </a:endParaRPr>
          </a:p>
        </p:txBody>
      </p:sp>
      <p:graphicFrame>
        <p:nvGraphicFramePr>
          <p:cNvPr id="10" name="Object 35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22" y="1592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1592"/>
                        <a:ext cx="21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/>
          <p:cNvCxnSpPr/>
          <p:nvPr/>
        </p:nvCxnSpPr>
        <p:spPr>
          <a:xfrm>
            <a:off x="584048" y="914400"/>
            <a:ext cx="11037658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"/>
          <p:cNvSpPr txBox="1">
            <a:spLocks/>
          </p:cNvSpPr>
          <p:nvPr/>
        </p:nvSpPr>
        <p:spPr>
          <a:xfrm>
            <a:off x="5643681" y="6540507"/>
            <a:ext cx="698318" cy="277813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lvl="0" algn="ctr">
              <a:defRPr sz="1000">
                <a:solidFill>
                  <a:schemeClr val="bg1"/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4BB290A-554C-4031-86FC-7BFB922535E0}" type="slidenum">
              <a:rPr lang="en-US" smtClean="0">
                <a:solidFill>
                  <a:prstClr val="white"/>
                </a:solidFill>
                <a:latin typeface="Arial"/>
                <a:ea typeface="ＭＳ Ｐゴシック" pitchFamily="34" charset="-128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prstClr val="white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98159" y="215140"/>
            <a:ext cx="11015087" cy="702564"/>
          </a:xfrm>
          <a:prstGeom prst="rect">
            <a:avLst/>
          </a:prstGeom>
        </p:spPr>
        <p:txBody>
          <a:bodyPr vert="horz" lIns="0" rIns="0" anchor="b"/>
          <a:lstStyle>
            <a:lvl1pPr>
              <a:lnSpc>
                <a:spcPts val="2800"/>
              </a:lnSpc>
              <a:defRPr sz="2800">
                <a:solidFill>
                  <a:srgbClr val="0D0D0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10"/>
          </p:nvPr>
        </p:nvSpPr>
        <p:spPr>
          <a:xfrm>
            <a:off x="556539" y="6359532"/>
            <a:ext cx="2844059" cy="233363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646568"/>
                </a:solidFill>
              </a:defRPr>
            </a:lvl1pPr>
          </a:lstStyle>
          <a:p>
            <a:pPr defTabSz="914400">
              <a:defRPr/>
            </a:pPr>
            <a:endParaRPr lang="en-US" dirty="0">
              <a:ea typeface="ＭＳ Ｐゴシック" pitchFamily="34" charset="-128"/>
              <a:cs typeface="+mn-cs"/>
            </a:endParaRPr>
          </a:p>
        </p:txBody>
      </p:sp>
      <p:pic>
        <p:nvPicPr>
          <p:cNvPr id="15" name="Picture 9" descr="Copy (2) of Kalyani - Logo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9716" y="6092598"/>
            <a:ext cx="95860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116247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586871" y="1371600"/>
            <a:ext cx="10902227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itle Placeholder 3"/>
          <p:cNvSpPr>
            <a:spLocks noGrp="1"/>
          </p:cNvSpPr>
          <p:nvPr>
            <p:ph type="title"/>
          </p:nvPr>
        </p:nvSpPr>
        <p:spPr>
          <a:xfrm>
            <a:off x="564336" y="160864"/>
            <a:ext cx="10924801" cy="1143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65044" y="1447800"/>
            <a:ext cx="9084483" cy="369332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529696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5931472" y="6419921"/>
            <a:ext cx="700434" cy="2778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fld id="{0A9E4C52-3113-4058-A96C-5973348EFFC0}" type="slidenum">
              <a:rPr lang="en-US" sz="1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defTabSz="914400">
                <a:defRPr/>
              </a:pPr>
              <a:t>‹#›</a:t>
            </a:fld>
            <a:endParaRPr lang="en-US" sz="1800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89968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586871" y="1371600"/>
            <a:ext cx="10902227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itle Placeholder 3"/>
          <p:cNvSpPr>
            <a:spLocks noGrp="1"/>
          </p:cNvSpPr>
          <p:nvPr>
            <p:ph type="title"/>
          </p:nvPr>
        </p:nvSpPr>
        <p:spPr>
          <a:xfrm>
            <a:off x="564343" y="160864"/>
            <a:ext cx="10924801" cy="1143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65051" y="1447800"/>
            <a:ext cx="9084483" cy="369332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1567352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586871" y="1371600"/>
            <a:ext cx="10902227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itle Placeholder 3"/>
          <p:cNvSpPr>
            <a:spLocks noGrp="1"/>
          </p:cNvSpPr>
          <p:nvPr>
            <p:ph type="title"/>
          </p:nvPr>
        </p:nvSpPr>
        <p:spPr>
          <a:xfrm>
            <a:off x="564343" y="160864"/>
            <a:ext cx="10924801" cy="1143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65051" y="1447800"/>
            <a:ext cx="9084483" cy="369332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9355264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1285" y="-8466"/>
            <a:ext cx="12222683" cy="6883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2808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9095350" y="3124200"/>
            <a:ext cx="1075614" cy="184666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r" defTabSz="914400"/>
            <a:r>
              <a:rPr lang="en-US" sz="600" dirty="0">
                <a:solidFill>
                  <a:srgbClr val="000000">
                    <a:lumMod val="50000"/>
                  </a:srgbClr>
                </a:solidFill>
              </a:rPr>
              <a:t>Proprietary © Meritor, Inc. 2016</a:t>
            </a:r>
            <a:endParaRPr lang="en-US" sz="600" dirty="0">
              <a:solidFill>
                <a:srgbClr val="000000">
                  <a:lumMod val="50000"/>
                </a:srgbClr>
              </a:solidFill>
              <a:ea typeface="ＭＳ Ｐゴシック" pitchFamily="34" charset="-128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9" name="Title Placeholder 3"/>
          <p:cNvSpPr>
            <a:spLocks noGrp="1"/>
          </p:cNvSpPr>
          <p:nvPr>
            <p:ph type="title" hasCustomPrompt="1"/>
          </p:nvPr>
        </p:nvSpPr>
        <p:spPr>
          <a:xfrm>
            <a:off x="564300" y="457200"/>
            <a:ext cx="10924801" cy="1143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ts val="4740"/>
              </a:lnSpc>
              <a:defRPr sz="36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ADD SECTION TITLE</a:t>
            </a:r>
            <a:br>
              <a:rPr lang="en-US" dirty="0"/>
            </a:br>
            <a:r>
              <a:rPr lang="en-US" dirty="0"/>
              <a:t>[ARIAL, 36PT, BOLD]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65005" y="1744136"/>
            <a:ext cx="10924093" cy="369332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8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Add Presenter’s Name [Arial, 18pt]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0723846" y="6635234"/>
            <a:ext cx="1075614" cy="184666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r" defTabSz="914400"/>
            <a:r>
              <a:rPr lang="en-US" sz="600" dirty="0">
                <a:solidFill>
                  <a:srgbClr val="7F7F7F"/>
                </a:solidFill>
              </a:rPr>
              <a:t>Proprietary © Meritor, Inc. 2016</a:t>
            </a:r>
            <a:endParaRPr lang="en-US" sz="600" dirty="0">
              <a:solidFill>
                <a:srgbClr val="7F7F7F"/>
              </a:solidFill>
              <a:ea typeface="ＭＳ Ｐゴシック" pitchFamily="34" charset="-128"/>
              <a:cs typeface="+mn-cs"/>
            </a:endParaRPr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872" y="5641781"/>
            <a:ext cx="1181503" cy="860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87686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 Title - Large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2121175"/>
              </p:ext>
            </p:extLst>
          </p:nvPr>
        </p:nvGraphicFramePr>
        <p:xfrm>
          <a:off x="2122" y="1592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1592"/>
                        <a:ext cx="21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84048" y="1066800"/>
            <a:ext cx="11037658" cy="4800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2286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2000">
                <a:solidFill>
                  <a:srgbClr val="000000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/>
              <a:buChar char="•"/>
              <a:defRPr lang="en-US" sz="1800" dirty="0">
                <a:solidFill>
                  <a:srgbClr val="000000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640080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Lucida Grande"/>
              <a:buChar char="-"/>
              <a:defRPr sz="1600">
                <a:solidFill>
                  <a:srgbClr val="000000"/>
                </a:solidFill>
              </a:defRPr>
            </a:lvl3pPr>
            <a:lvl4pPr marL="804672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1400">
                <a:solidFill>
                  <a:srgbClr val="000000"/>
                </a:solidFill>
              </a:defRPr>
            </a:lvl4pPr>
            <a:lvl5pPr marL="996696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400" baseline="0">
                <a:solidFill>
                  <a:srgbClr val="000000"/>
                </a:solidFill>
              </a:defRPr>
            </a:lvl5pPr>
            <a:lvl6pPr marL="1575054" indent="-285750">
              <a:buClr>
                <a:schemeClr val="accent2"/>
              </a:buClr>
              <a:buFont typeface="Lucida Grande"/>
              <a:buChar char="-"/>
              <a:defRPr/>
            </a:lvl6pPr>
          </a:lstStyle>
          <a:p>
            <a:pPr lvl="0"/>
            <a:r>
              <a:rPr lang="en-US" dirty="0"/>
              <a:t>Click to edit [Arial, 20pt]</a:t>
            </a:r>
          </a:p>
          <a:p>
            <a:pPr lvl="1"/>
            <a:r>
              <a:rPr lang="en-US" dirty="0"/>
              <a:t>Second level text [Arial, 18pt]</a:t>
            </a:r>
          </a:p>
          <a:p>
            <a:pPr lvl="2"/>
            <a:r>
              <a:rPr lang="en-US" dirty="0"/>
              <a:t>Third level text [Arial, 16pt]</a:t>
            </a:r>
          </a:p>
          <a:p>
            <a:pPr lvl="3"/>
            <a:r>
              <a:rPr lang="en-US" dirty="0"/>
              <a:t>Fourth level text [Arial, 14pt]</a:t>
            </a:r>
          </a:p>
          <a:p>
            <a:pPr lvl="4"/>
            <a:r>
              <a:rPr lang="en-US" dirty="0"/>
              <a:t>Fifth level text [Arial, 14pt]</a:t>
            </a:r>
          </a:p>
        </p:txBody>
      </p:sp>
      <p:sp>
        <p:nvSpPr>
          <p:cNvPr id="9" name="Slide Number Placeholder 1"/>
          <p:cNvSpPr txBox="1">
            <a:spLocks/>
          </p:cNvSpPr>
          <p:nvPr userDrawn="1"/>
        </p:nvSpPr>
        <p:spPr>
          <a:xfrm>
            <a:off x="67716" y="6338894"/>
            <a:ext cx="507868" cy="2778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F8F8DD-F1D8-4C18-8A72-68D9250FE803}" type="slidenum">
              <a:rPr lang="en-US" smtClean="0">
                <a:solidFill>
                  <a:srgbClr val="646568"/>
                </a:solidFill>
              </a:rPr>
              <a:pPr/>
              <a:t>‹#›</a:t>
            </a:fld>
            <a:endParaRPr lang="en-US" dirty="0">
              <a:solidFill>
                <a:srgbClr val="646568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55831" y="6359967"/>
            <a:ext cx="2844059" cy="233713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646568"/>
                </a:solidFill>
              </a:defRPr>
            </a:lvl1pPr>
          </a:lstStyle>
          <a:p>
            <a:pPr defTabSz="914400"/>
            <a:endParaRPr lang="en-US" dirty="0">
              <a:ea typeface="ＭＳ Ｐゴシック" pitchFamily="34" charset="-128"/>
              <a:cs typeface="+mn-cs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84048" y="851660"/>
            <a:ext cx="11037658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98159" y="0"/>
            <a:ext cx="11015087" cy="854964"/>
          </a:xfrm>
          <a:prstGeom prst="rect">
            <a:avLst/>
          </a:prstGeom>
        </p:spPr>
        <p:txBody>
          <a:bodyPr vert="horz" lIns="0" rIns="0" anchor="b"/>
          <a:lstStyle>
            <a:lvl1pPr>
              <a:lnSpc>
                <a:spcPts val="2800"/>
              </a:lnSpc>
              <a:defRPr sz="28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Add Title [Arial, bold, 28pt]</a:t>
            </a:r>
          </a:p>
        </p:txBody>
      </p:sp>
    </p:spTree>
    <p:extLst>
      <p:ext uri="{BB962C8B-B14F-4D97-AF65-F5344CB8AC3E}">
        <p14:creationId xmlns:p14="http://schemas.microsoft.com/office/powerpoint/2010/main" val="18551886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 Title - Spli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584048" y="851660"/>
            <a:ext cx="11037658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98159" y="0"/>
            <a:ext cx="11015087" cy="854964"/>
          </a:xfrm>
          <a:prstGeom prst="rect">
            <a:avLst/>
          </a:prstGeom>
        </p:spPr>
        <p:txBody>
          <a:bodyPr vert="horz" lIns="0" rIns="0" anchor="b"/>
          <a:lstStyle>
            <a:lvl1pPr>
              <a:lnSpc>
                <a:spcPts val="2800"/>
              </a:lnSpc>
              <a:defRPr sz="28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Add Title [Arial, bold, 28pt]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1" hasCustomPrompt="1"/>
          </p:nvPr>
        </p:nvSpPr>
        <p:spPr>
          <a:xfrm>
            <a:off x="581226" y="1066800"/>
            <a:ext cx="5315682" cy="4800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2286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2000">
                <a:solidFill>
                  <a:srgbClr val="000000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/>
              <a:buChar char="•"/>
              <a:defRPr lang="en-US" sz="1800" dirty="0">
                <a:solidFill>
                  <a:srgbClr val="000000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640080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Lucida Grande"/>
              <a:buChar char="-"/>
              <a:defRPr sz="1600">
                <a:solidFill>
                  <a:srgbClr val="000000"/>
                </a:solidFill>
              </a:defRPr>
            </a:lvl3pPr>
            <a:lvl4pPr marL="804672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1400">
                <a:solidFill>
                  <a:srgbClr val="000000"/>
                </a:solidFill>
              </a:defRPr>
            </a:lvl4pPr>
            <a:lvl5pPr marL="996696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400" baseline="0">
                <a:solidFill>
                  <a:srgbClr val="000000"/>
                </a:solidFill>
              </a:defRPr>
            </a:lvl5pPr>
            <a:lvl6pPr marL="1575054" indent="-285750">
              <a:buClr>
                <a:schemeClr val="accent2"/>
              </a:buClr>
              <a:buFont typeface="Lucida Grande"/>
              <a:buChar char="-"/>
              <a:defRPr/>
            </a:lvl6pPr>
          </a:lstStyle>
          <a:p>
            <a:pPr lvl="0"/>
            <a:r>
              <a:rPr lang="en-US" dirty="0"/>
              <a:t>Click to edit [Arial, 20pt]</a:t>
            </a:r>
          </a:p>
          <a:p>
            <a:pPr lvl="1"/>
            <a:r>
              <a:rPr lang="en-US" dirty="0"/>
              <a:t>Second level text [Arial, 18pt]</a:t>
            </a:r>
          </a:p>
          <a:p>
            <a:pPr lvl="2"/>
            <a:r>
              <a:rPr lang="en-US" dirty="0"/>
              <a:t>Third level text [Arial, 16pt]</a:t>
            </a:r>
          </a:p>
          <a:p>
            <a:pPr lvl="3"/>
            <a:r>
              <a:rPr lang="en-US" dirty="0"/>
              <a:t>Fourth level text [Arial, 14pt]</a:t>
            </a:r>
          </a:p>
          <a:p>
            <a:pPr lvl="4"/>
            <a:r>
              <a:rPr lang="en-US" dirty="0"/>
              <a:t>Fifth level text [Arial, 14pt]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2" hasCustomPrompt="1"/>
          </p:nvPr>
        </p:nvSpPr>
        <p:spPr>
          <a:xfrm>
            <a:off x="6297560" y="1057275"/>
            <a:ext cx="5315682" cy="4800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2286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2000">
                <a:solidFill>
                  <a:srgbClr val="000000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/>
              <a:buChar char="•"/>
              <a:defRPr lang="en-US" sz="1800" dirty="0">
                <a:solidFill>
                  <a:srgbClr val="000000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640080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Lucida Grande"/>
              <a:buChar char="-"/>
              <a:defRPr sz="1600">
                <a:solidFill>
                  <a:srgbClr val="000000"/>
                </a:solidFill>
              </a:defRPr>
            </a:lvl3pPr>
            <a:lvl4pPr marL="804672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1400">
                <a:solidFill>
                  <a:srgbClr val="000000"/>
                </a:solidFill>
              </a:defRPr>
            </a:lvl4pPr>
            <a:lvl5pPr marL="996696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400" baseline="0">
                <a:solidFill>
                  <a:srgbClr val="000000"/>
                </a:solidFill>
              </a:defRPr>
            </a:lvl5pPr>
            <a:lvl6pPr marL="1575054" indent="-285750">
              <a:buClr>
                <a:schemeClr val="accent2"/>
              </a:buClr>
              <a:buFont typeface="Lucida Grande"/>
              <a:buChar char="-"/>
              <a:defRPr/>
            </a:lvl6pPr>
          </a:lstStyle>
          <a:p>
            <a:pPr lvl="0"/>
            <a:r>
              <a:rPr lang="en-US" dirty="0"/>
              <a:t>Click to edit [Arial, 20pt]</a:t>
            </a:r>
          </a:p>
          <a:p>
            <a:pPr lvl="1"/>
            <a:r>
              <a:rPr lang="en-US" dirty="0"/>
              <a:t>Second level text [Arial, 18pt]</a:t>
            </a:r>
          </a:p>
          <a:p>
            <a:pPr lvl="2"/>
            <a:r>
              <a:rPr lang="en-US" dirty="0"/>
              <a:t>Third level text [Arial, 16pt]</a:t>
            </a:r>
          </a:p>
          <a:p>
            <a:pPr lvl="3"/>
            <a:r>
              <a:rPr lang="en-US" dirty="0"/>
              <a:t>Fourth level text [Arial, 14pt]</a:t>
            </a:r>
          </a:p>
          <a:p>
            <a:pPr lvl="4"/>
            <a:r>
              <a:rPr lang="en-US" dirty="0"/>
              <a:t>Fifth level text [Arial, 14pt]</a:t>
            </a:r>
          </a:p>
        </p:txBody>
      </p:sp>
      <p:sp>
        <p:nvSpPr>
          <p:cNvPr id="9" name="Slide Number Placeholder 1"/>
          <p:cNvSpPr txBox="1">
            <a:spLocks/>
          </p:cNvSpPr>
          <p:nvPr userDrawn="1"/>
        </p:nvSpPr>
        <p:spPr>
          <a:xfrm>
            <a:off x="67716" y="6338894"/>
            <a:ext cx="507868" cy="2778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F8F8DD-F1D8-4C18-8A72-68D9250FE803}" type="slidenum">
              <a:rPr lang="en-US" smtClean="0">
                <a:solidFill>
                  <a:srgbClr val="646568"/>
                </a:solidFill>
              </a:rPr>
              <a:pPr/>
              <a:t>‹#›</a:t>
            </a:fld>
            <a:endParaRPr lang="en-US" dirty="0">
              <a:solidFill>
                <a:srgbClr val="646568"/>
              </a:solidFill>
            </a:endParaRPr>
          </a:p>
        </p:txBody>
      </p:sp>
      <p:sp>
        <p:nvSpPr>
          <p:cNvPr id="13" name="Date Placeholder 1"/>
          <p:cNvSpPr>
            <a:spLocks noGrp="1"/>
          </p:cNvSpPr>
          <p:nvPr>
            <p:ph type="dt" sz="half" idx="10"/>
          </p:nvPr>
        </p:nvSpPr>
        <p:spPr>
          <a:xfrm>
            <a:off x="555831" y="6359967"/>
            <a:ext cx="2844059" cy="233713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646568"/>
                </a:solidFill>
              </a:defRPr>
            </a:lvl1pPr>
          </a:lstStyle>
          <a:p>
            <a:pPr defTabSz="914400"/>
            <a:endParaRPr lang="en-US" dirty="0"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58857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Line Title - Split Content Area - half - 2 qua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584048" y="851660"/>
            <a:ext cx="11037658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98159" y="0"/>
            <a:ext cx="11015087" cy="854964"/>
          </a:xfrm>
          <a:prstGeom prst="rect">
            <a:avLst/>
          </a:prstGeom>
        </p:spPr>
        <p:txBody>
          <a:bodyPr vert="horz" lIns="0" rIns="0" anchor="b"/>
          <a:lstStyle>
            <a:lvl1pPr>
              <a:lnSpc>
                <a:spcPts val="2800"/>
              </a:lnSpc>
              <a:defRPr sz="28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Add Title [Arial, bold, 28pt]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1" hasCustomPrompt="1"/>
          </p:nvPr>
        </p:nvSpPr>
        <p:spPr>
          <a:xfrm>
            <a:off x="581226" y="1066800"/>
            <a:ext cx="5315682" cy="4800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2286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2000">
                <a:solidFill>
                  <a:srgbClr val="000000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/>
              <a:buChar char="•"/>
              <a:defRPr lang="en-US" sz="1800" dirty="0">
                <a:solidFill>
                  <a:srgbClr val="000000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640080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Lucida Grande"/>
              <a:buChar char="-"/>
              <a:defRPr sz="1600">
                <a:solidFill>
                  <a:srgbClr val="000000"/>
                </a:solidFill>
              </a:defRPr>
            </a:lvl3pPr>
            <a:lvl4pPr marL="804672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1400">
                <a:solidFill>
                  <a:srgbClr val="000000"/>
                </a:solidFill>
              </a:defRPr>
            </a:lvl4pPr>
            <a:lvl5pPr marL="996696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400" baseline="0">
                <a:solidFill>
                  <a:srgbClr val="000000"/>
                </a:solidFill>
              </a:defRPr>
            </a:lvl5pPr>
            <a:lvl6pPr marL="1575054" indent="-285750">
              <a:buClr>
                <a:schemeClr val="accent2"/>
              </a:buClr>
              <a:buFont typeface="Lucida Grande"/>
              <a:buChar char="-"/>
              <a:defRPr/>
            </a:lvl6pPr>
          </a:lstStyle>
          <a:p>
            <a:pPr lvl="0"/>
            <a:r>
              <a:rPr lang="en-US" dirty="0"/>
              <a:t>Click to edit [Arial, 20pt]</a:t>
            </a:r>
          </a:p>
          <a:p>
            <a:pPr lvl="1"/>
            <a:r>
              <a:rPr lang="en-US" dirty="0"/>
              <a:t>Second level text [Arial, 18pt]</a:t>
            </a:r>
          </a:p>
          <a:p>
            <a:pPr lvl="2"/>
            <a:r>
              <a:rPr lang="en-US" dirty="0"/>
              <a:t>Third level text [Arial, 16pt]</a:t>
            </a:r>
          </a:p>
          <a:p>
            <a:pPr lvl="3"/>
            <a:r>
              <a:rPr lang="en-US" dirty="0"/>
              <a:t>Fourth level text [Arial, 14pt]</a:t>
            </a:r>
          </a:p>
          <a:p>
            <a:pPr lvl="4"/>
            <a:r>
              <a:rPr lang="en-US" dirty="0"/>
              <a:t>Fifth level text [Arial, 14pt]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2" hasCustomPrompt="1"/>
          </p:nvPr>
        </p:nvSpPr>
        <p:spPr>
          <a:xfrm>
            <a:off x="6297560" y="1057275"/>
            <a:ext cx="5315682" cy="2287058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2286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2000">
                <a:solidFill>
                  <a:srgbClr val="000000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/>
              <a:buChar char="•"/>
              <a:defRPr lang="en-US" sz="1800" dirty="0">
                <a:solidFill>
                  <a:srgbClr val="000000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640080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Lucida Grande"/>
              <a:buChar char="-"/>
              <a:defRPr sz="1600">
                <a:solidFill>
                  <a:srgbClr val="000000"/>
                </a:solidFill>
              </a:defRPr>
            </a:lvl3pPr>
            <a:lvl4pPr marL="804672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1400">
                <a:solidFill>
                  <a:srgbClr val="000000"/>
                </a:solidFill>
              </a:defRPr>
            </a:lvl4pPr>
            <a:lvl5pPr marL="996696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400" baseline="0">
                <a:solidFill>
                  <a:srgbClr val="000000"/>
                </a:solidFill>
              </a:defRPr>
            </a:lvl5pPr>
            <a:lvl6pPr marL="1575054" indent="-285750">
              <a:buClr>
                <a:schemeClr val="accent2"/>
              </a:buClr>
              <a:buFont typeface="Lucida Grande"/>
              <a:buChar char="-"/>
              <a:defRPr/>
            </a:lvl6pPr>
          </a:lstStyle>
          <a:p>
            <a:pPr lvl="0"/>
            <a:r>
              <a:rPr lang="en-US" dirty="0"/>
              <a:t>Click to edit [Arial, 20pt]</a:t>
            </a:r>
          </a:p>
          <a:p>
            <a:pPr lvl="1"/>
            <a:r>
              <a:rPr lang="en-US" dirty="0"/>
              <a:t>Second level text [Arial, 18pt]</a:t>
            </a:r>
          </a:p>
          <a:p>
            <a:pPr lvl="2"/>
            <a:r>
              <a:rPr lang="en-US" dirty="0"/>
              <a:t>Third level text [Arial, 16pt]</a:t>
            </a:r>
          </a:p>
          <a:p>
            <a:pPr lvl="3"/>
            <a:r>
              <a:rPr lang="en-US" dirty="0"/>
              <a:t>Fourth level text [Arial, 14pt]</a:t>
            </a:r>
          </a:p>
          <a:p>
            <a:pPr lvl="4"/>
            <a:r>
              <a:rPr lang="en-US" dirty="0"/>
              <a:t>Fifth level text [Arial, 14pt]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306024" y="3572938"/>
            <a:ext cx="5315682" cy="2294467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2286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2000">
                <a:solidFill>
                  <a:srgbClr val="000000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/>
              <a:buChar char="•"/>
              <a:defRPr lang="en-US" sz="1800" dirty="0">
                <a:solidFill>
                  <a:srgbClr val="000000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640080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Lucida Grande"/>
              <a:buChar char="-"/>
              <a:defRPr sz="1600">
                <a:solidFill>
                  <a:srgbClr val="000000"/>
                </a:solidFill>
              </a:defRPr>
            </a:lvl3pPr>
            <a:lvl4pPr marL="804672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1400">
                <a:solidFill>
                  <a:srgbClr val="000000"/>
                </a:solidFill>
              </a:defRPr>
            </a:lvl4pPr>
            <a:lvl5pPr marL="996696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400" baseline="0">
                <a:solidFill>
                  <a:srgbClr val="000000"/>
                </a:solidFill>
              </a:defRPr>
            </a:lvl5pPr>
            <a:lvl6pPr marL="1575054" indent="-285750">
              <a:buClr>
                <a:schemeClr val="accent2"/>
              </a:buClr>
              <a:buFont typeface="Lucida Grande"/>
              <a:buChar char="-"/>
              <a:defRPr/>
            </a:lvl6pPr>
          </a:lstStyle>
          <a:p>
            <a:pPr lvl="0"/>
            <a:r>
              <a:rPr lang="en-US" dirty="0"/>
              <a:t>Click to edit [Arial, 20pt]</a:t>
            </a:r>
          </a:p>
          <a:p>
            <a:pPr lvl="1"/>
            <a:r>
              <a:rPr lang="en-US" dirty="0"/>
              <a:t>Second level text [Arial, 18pt]</a:t>
            </a:r>
          </a:p>
          <a:p>
            <a:pPr lvl="2"/>
            <a:r>
              <a:rPr lang="en-US" dirty="0"/>
              <a:t>Third level text [Arial, 16pt]</a:t>
            </a:r>
          </a:p>
          <a:p>
            <a:pPr lvl="3"/>
            <a:r>
              <a:rPr lang="en-US" dirty="0"/>
              <a:t>Fourth level text [Arial, 14pt]</a:t>
            </a:r>
          </a:p>
          <a:p>
            <a:pPr lvl="4"/>
            <a:r>
              <a:rPr lang="en-US" dirty="0"/>
              <a:t>Fifth level text [Arial, 14pt]</a:t>
            </a:r>
          </a:p>
        </p:txBody>
      </p:sp>
      <p:sp>
        <p:nvSpPr>
          <p:cNvPr id="13" name="Slide Number Placeholder 1"/>
          <p:cNvSpPr txBox="1">
            <a:spLocks/>
          </p:cNvSpPr>
          <p:nvPr userDrawn="1"/>
        </p:nvSpPr>
        <p:spPr>
          <a:xfrm>
            <a:off x="67716" y="6338894"/>
            <a:ext cx="507868" cy="2778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F8F8DD-F1D8-4C18-8A72-68D9250FE803}" type="slidenum">
              <a:rPr lang="en-US" smtClean="0">
                <a:solidFill>
                  <a:srgbClr val="646568"/>
                </a:solidFill>
              </a:rPr>
              <a:pPr/>
              <a:t>‹#›</a:t>
            </a:fld>
            <a:endParaRPr lang="en-US" dirty="0">
              <a:solidFill>
                <a:srgbClr val="646568"/>
              </a:solidFill>
            </a:endParaRPr>
          </a:p>
        </p:txBody>
      </p:sp>
      <p:sp>
        <p:nvSpPr>
          <p:cNvPr id="17" name="Date Placeholder 1"/>
          <p:cNvSpPr>
            <a:spLocks noGrp="1"/>
          </p:cNvSpPr>
          <p:nvPr>
            <p:ph type="dt" sz="half" idx="10"/>
          </p:nvPr>
        </p:nvSpPr>
        <p:spPr>
          <a:xfrm>
            <a:off x="555831" y="6359967"/>
            <a:ext cx="2844059" cy="233713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646568"/>
                </a:solidFill>
              </a:defRPr>
            </a:lvl1pPr>
          </a:lstStyle>
          <a:p>
            <a:pPr defTabSz="914400"/>
            <a:endParaRPr lang="en-US" dirty="0"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3814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Line Title - Quad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584048" y="851660"/>
            <a:ext cx="11037658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598159" y="0"/>
            <a:ext cx="11015087" cy="854964"/>
          </a:xfrm>
          <a:prstGeom prst="rect">
            <a:avLst/>
          </a:prstGeom>
        </p:spPr>
        <p:txBody>
          <a:bodyPr vert="horz" lIns="0" rIns="0" anchor="b"/>
          <a:lstStyle>
            <a:lvl1pPr>
              <a:lnSpc>
                <a:spcPts val="2800"/>
              </a:lnSpc>
              <a:defRPr sz="28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Add Title [Arial, bold, 28pt]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1" hasCustomPrompt="1"/>
          </p:nvPr>
        </p:nvSpPr>
        <p:spPr>
          <a:xfrm>
            <a:off x="581226" y="1066803"/>
            <a:ext cx="5315682" cy="2295525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2286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2000">
                <a:solidFill>
                  <a:srgbClr val="000000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/>
              <a:buChar char="•"/>
              <a:defRPr lang="en-US" sz="1800" dirty="0">
                <a:solidFill>
                  <a:srgbClr val="000000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640080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Lucida Grande"/>
              <a:buChar char="-"/>
              <a:defRPr sz="1600">
                <a:solidFill>
                  <a:srgbClr val="000000"/>
                </a:solidFill>
              </a:defRPr>
            </a:lvl3pPr>
            <a:lvl4pPr marL="804672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1400">
                <a:solidFill>
                  <a:srgbClr val="000000"/>
                </a:solidFill>
              </a:defRPr>
            </a:lvl4pPr>
            <a:lvl5pPr marL="996696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400" baseline="0">
                <a:solidFill>
                  <a:srgbClr val="000000"/>
                </a:solidFill>
              </a:defRPr>
            </a:lvl5pPr>
            <a:lvl6pPr marL="1575054" indent="-285750">
              <a:buClr>
                <a:schemeClr val="accent2"/>
              </a:buClr>
              <a:buFont typeface="Lucida Grande"/>
              <a:buChar char="-"/>
              <a:defRPr/>
            </a:lvl6pPr>
          </a:lstStyle>
          <a:p>
            <a:pPr lvl="0"/>
            <a:r>
              <a:rPr lang="en-US" dirty="0"/>
              <a:t>Click to edit [Arial, 20pt]</a:t>
            </a:r>
          </a:p>
          <a:p>
            <a:pPr lvl="1"/>
            <a:r>
              <a:rPr lang="en-US" dirty="0"/>
              <a:t>Second level text [Arial, 18pt]</a:t>
            </a:r>
          </a:p>
          <a:p>
            <a:pPr lvl="2"/>
            <a:r>
              <a:rPr lang="en-US" dirty="0"/>
              <a:t>Third level text [Arial, 16pt]</a:t>
            </a:r>
          </a:p>
          <a:p>
            <a:pPr lvl="3"/>
            <a:r>
              <a:rPr lang="en-US" dirty="0"/>
              <a:t>Fourth level text [Arial, 14pt]</a:t>
            </a:r>
          </a:p>
          <a:p>
            <a:pPr lvl="4"/>
            <a:r>
              <a:rPr lang="en-US" dirty="0"/>
              <a:t>Fifth level text [Arial, 14pt]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2" hasCustomPrompt="1"/>
          </p:nvPr>
        </p:nvSpPr>
        <p:spPr>
          <a:xfrm>
            <a:off x="6297560" y="1057279"/>
            <a:ext cx="5315682" cy="2295525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2286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2000">
                <a:solidFill>
                  <a:srgbClr val="000000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/>
              <a:buChar char="•"/>
              <a:defRPr lang="en-US" sz="1800" dirty="0">
                <a:solidFill>
                  <a:srgbClr val="000000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640080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Lucida Grande"/>
              <a:buChar char="-"/>
              <a:defRPr sz="1600">
                <a:solidFill>
                  <a:srgbClr val="000000"/>
                </a:solidFill>
              </a:defRPr>
            </a:lvl3pPr>
            <a:lvl4pPr marL="804672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1400">
                <a:solidFill>
                  <a:srgbClr val="000000"/>
                </a:solidFill>
              </a:defRPr>
            </a:lvl4pPr>
            <a:lvl5pPr marL="996696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400" baseline="0">
                <a:solidFill>
                  <a:srgbClr val="000000"/>
                </a:solidFill>
              </a:defRPr>
            </a:lvl5pPr>
            <a:lvl6pPr marL="1575054" indent="-285750">
              <a:buClr>
                <a:schemeClr val="accent2"/>
              </a:buClr>
              <a:buFont typeface="Lucida Grande"/>
              <a:buChar char="-"/>
              <a:defRPr/>
            </a:lvl6pPr>
          </a:lstStyle>
          <a:p>
            <a:pPr lvl="0"/>
            <a:r>
              <a:rPr lang="en-US" dirty="0"/>
              <a:t>Click to edit [Arial, 20pt]</a:t>
            </a:r>
          </a:p>
          <a:p>
            <a:pPr lvl="1"/>
            <a:r>
              <a:rPr lang="en-US" dirty="0"/>
              <a:t>Second level text [Arial, 18pt]</a:t>
            </a:r>
          </a:p>
          <a:p>
            <a:pPr lvl="2"/>
            <a:r>
              <a:rPr lang="en-US" dirty="0"/>
              <a:t>Third level text [Arial, 16pt]</a:t>
            </a:r>
          </a:p>
          <a:p>
            <a:pPr lvl="3"/>
            <a:r>
              <a:rPr lang="en-US" dirty="0"/>
              <a:t>Fourth level text [Arial, 14pt]</a:t>
            </a:r>
          </a:p>
          <a:p>
            <a:pPr lvl="4"/>
            <a:r>
              <a:rPr lang="en-US" dirty="0"/>
              <a:t>Fifth level text [Arial, 14pt]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81226" y="3667132"/>
            <a:ext cx="5315682" cy="2295525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2286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2000">
                <a:solidFill>
                  <a:srgbClr val="000000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/>
              <a:buChar char="•"/>
              <a:defRPr lang="en-US" sz="1800" dirty="0">
                <a:solidFill>
                  <a:srgbClr val="000000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640080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Lucida Grande"/>
              <a:buChar char="-"/>
              <a:defRPr sz="1600">
                <a:solidFill>
                  <a:srgbClr val="000000"/>
                </a:solidFill>
              </a:defRPr>
            </a:lvl3pPr>
            <a:lvl4pPr marL="804672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1400">
                <a:solidFill>
                  <a:srgbClr val="000000"/>
                </a:solidFill>
              </a:defRPr>
            </a:lvl4pPr>
            <a:lvl5pPr marL="996696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400" baseline="0">
                <a:solidFill>
                  <a:srgbClr val="000000"/>
                </a:solidFill>
              </a:defRPr>
            </a:lvl5pPr>
            <a:lvl6pPr marL="1575054" indent="-285750">
              <a:buClr>
                <a:schemeClr val="accent2"/>
              </a:buClr>
              <a:buFont typeface="Lucida Grande"/>
              <a:buChar char="-"/>
              <a:defRPr/>
            </a:lvl6pPr>
          </a:lstStyle>
          <a:p>
            <a:pPr lvl="0"/>
            <a:r>
              <a:rPr lang="en-US" dirty="0"/>
              <a:t>Click to edit [Arial, 20pt]</a:t>
            </a:r>
          </a:p>
          <a:p>
            <a:pPr lvl="1"/>
            <a:r>
              <a:rPr lang="en-US" dirty="0"/>
              <a:t>Second level text [Arial, 18pt]</a:t>
            </a:r>
          </a:p>
          <a:p>
            <a:pPr lvl="2"/>
            <a:r>
              <a:rPr lang="en-US" dirty="0"/>
              <a:t>Third level text [Arial, 16pt]</a:t>
            </a:r>
          </a:p>
          <a:p>
            <a:pPr lvl="3"/>
            <a:r>
              <a:rPr lang="en-US" dirty="0"/>
              <a:t>Fourth level text [Arial, 14pt]</a:t>
            </a:r>
          </a:p>
          <a:p>
            <a:pPr lvl="4"/>
            <a:r>
              <a:rPr lang="en-US" dirty="0"/>
              <a:t>Fifth level text [Arial, 14pt]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297560" y="3657600"/>
            <a:ext cx="5315682" cy="2295525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2286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2000">
                <a:solidFill>
                  <a:srgbClr val="000000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/>
              <a:buChar char="•"/>
              <a:defRPr lang="en-US" sz="1800" dirty="0">
                <a:solidFill>
                  <a:srgbClr val="000000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640080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Lucida Grande"/>
              <a:buChar char="-"/>
              <a:defRPr sz="1600">
                <a:solidFill>
                  <a:srgbClr val="000000"/>
                </a:solidFill>
              </a:defRPr>
            </a:lvl3pPr>
            <a:lvl4pPr marL="804672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1400">
                <a:solidFill>
                  <a:srgbClr val="000000"/>
                </a:solidFill>
              </a:defRPr>
            </a:lvl4pPr>
            <a:lvl5pPr marL="996696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400" baseline="0">
                <a:solidFill>
                  <a:srgbClr val="000000"/>
                </a:solidFill>
              </a:defRPr>
            </a:lvl5pPr>
            <a:lvl6pPr marL="1575054" indent="-285750">
              <a:buClr>
                <a:schemeClr val="accent2"/>
              </a:buClr>
              <a:buFont typeface="Lucida Grande"/>
              <a:buChar char="-"/>
              <a:defRPr/>
            </a:lvl6pPr>
          </a:lstStyle>
          <a:p>
            <a:pPr lvl="0"/>
            <a:r>
              <a:rPr lang="en-US" dirty="0"/>
              <a:t>Click to edit [Arial, 20pt]</a:t>
            </a:r>
          </a:p>
          <a:p>
            <a:pPr lvl="1"/>
            <a:r>
              <a:rPr lang="en-US" dirty="0"/>
              <a:t>Second level text [Arial, 18pt]</a:t>
            </a:r>
          </a:p>
          <a:p>
            <a:pPr lvl="2"/>
            <a:r>
              <a:rPr lang="en-US" dirty="0"/>
              <a:t>Third level text [Arial, 16pt]</a:t>
            </a:r>
          </a:p>
          <a:p>
            <a:pPr lvl="3"/>
            <a:r>
              <a:rPr lang="en-US" dirty="0"/>
              <a:t>Fourth level text [Arial, 14pt]</a:t>
            </a:r>
          </a:p>
          <a:p>
            <a:pPr lvl="4"/>
            <a:r>
              <a:rPr lang="en-US" dirty="0"/>
              <a:t>Fifth level text [Arial, 14pt]</a:t>
            </a:r>
          </a:p>
        </p:txBody>
      </p:sp>
      <p:sp>
        <p:nvSpPr>
          <p:cNvPr id="18" name="Slide Number Placeholder 1"/>
          <p:cNvSpPr txBox="1">
            <a:spLocks/>
          </p:cNvSpPr>
          <p:nvPr userDrawn="1"/>
        </p:nvSpPr>
        <p:spPr>
          <a:xfrm>
            <a:off x="67716" y="6338894"/>
            <a:ext cx="507868" cy="2778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F8F8DD-F1D8-4C18-8A72-68D9250FE803}" type="slidenum">
              <a:rPr lang="en-US" smtClean="0">
                <a:solidFill>
                  <a:srgbClr val="646568"/>
                </a:solidFill>
              </a:rPr>
              <a:pPr/>
              <a:t>‹#›</a:t>
            </a:fld>
            <a:endParaRPr lang="en-US" dirty="0">
              <a:solidFill>
                <a:srgbClr val="646568"/>
              </a:solidFill>
            </a:endParaRPr>
          </a:p>
        </p:txBody>
      </p:sp>
      <p:sp>
        <p:nvSpPr>
          <p:cNvPr id="11" name="Date Placeholder 1"/>
          <p:cNvSpPr>
            <a:spLocks noGrp="1"/>
          </p:cNvSpPr>
          <p:nvPr>
            <p:ph type="dt" sz="half" idx="15"/>
          </p:nvPr>
        </p:nvSpPr>
        <p:spPr>
          <a:xfrm>
            <a:off x="555831" y="6357594"/>
            <a:ext cx="2844059" cy="233713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646568"/>
                </a:solidFill>
              </a:defRPr>
            </a:lvl1pPr>
          </a:lstStyle>
          <a:p>
            <a:pPr defTabSz="914400"/>
            <a:endParaRPr lang="en-US" dirty="0"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81575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 Title - Unproportional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584048" y="851660"/>
            <a:ext cx="11037658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98159" y="0"/>
            <a:ext cx="11015087" cy="854964"/>
          </a:xfrm>
          <a:prstGeom prst="rect">
            <a:avLst/>
          </a:prstGeom>
        </p:spPr>
        <p:txBody>
          <a:bodyPr vert="horz" lIns="0" rIns="0" anchor="b"/>
          <a:lstStyle>
            <a:lvl1pPr>
              <a:lnSpc>
                <a:spcPts val="2800"/>
              </a:lnSpc>
              <a:defRPr sz="28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Add Title [Arial, bold, 28pt]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1" hasCustomPrompt="1"/>
          </p:nvPr>
        </p:nvSpPr>
        <p:spPr>
          <a:xfrm>
            <a:off x="575583" y="1066800"/>
            <a:ext cx="6432991" cy="4800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2286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2000">
                <a:solidFill>
                  <a:srgbClr val="000000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/>
              <a:buChar char="•"/>
              <a:defRPr lang="en-US" sz="1800" dirty="0">
                <a:solidFill>
                  <a:srgbClr val="000000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640080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Lucida Grande"/>
              <a:buChar char="-"/>
              <a:defRPr sz="1600">
                <a:solidFill>
                  <a:srgbClr val="000000"/>
                </a:solidFill>
              </a:defRPr>
            </a:lvl3pPr>
            <a:lvl4pPr marL="804672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1400">
                <a:solidFill>
                  <a:srgbClr val="000000"/>
                </a:solidFill>
              </a:defRPr>
            </a:lvl4pPr>
            <a:lvl5pPr marL="996696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400" baseline="0">
                <a:solidFill>
                  <a:srgbClr val="000000"/>
                </a:solidFill>
              </a:defRPr>
            </a:lvl5pPr>
            <a:lvl6pPr marL="1575054" indent="-285750">
              <a:buClr>
                <a:schemeClr val="accent2"/>
              </a:buClr>
              <a:buFont typeface="Lucida Grande"/>
              <a:buChar char="-"/>
              <a:defRPr/>
            </a:lvl6pPr>
          </a:lstStyle>
          <a:p>
            <a:pPr lvl="0"/>
            <a:r>
              <a:rPr lang="en-US" dirty="0"/>
              <a:t>Click to edit [Arial, 20pt]</a:t>
            </a:r>
          </a:p>
          <a:p>
            <a:pPr lvl="1"/>
            <a:r>
              <a:rPr lang="en-US" dirty="0"/>
              <a:t>Second level text [Arial, 18pt]</a:t>
            </a:r>
          </a:p>
          <a:p>
            <a:pPr lvl="2"/>
            <a:r>
              <a:rPr lang="en-US" dirty="0"/>
              <a:t>Third level text [Arial, 16pt]</a:t>
            </a:r>
          </a:p>
          <a:p>
            <a:pPr lvl="3"/>
            <a:r>
              <a:rPr lang="en-US" dirty="0"/>
              <a:t>Fourth level text [Arial, 14pt]</a:t>
            </a:r>
          </a:p>
          <a:p>
            <a:pPr lvl="4"/>
            <a:r>
              <a:rPr lang="en-US" dirty="0"/>
              <a:t>Fifth level text [Arial, 14pt]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 hasCustomPrompt="1"/>
          </p:nvPr>
        </p:nvSpPr>
        <p:spPr>
          <a:xfrm>
            <a:off x="7516442" y="1066800"/>
            <a:ext cx="4105264" cy="48006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2286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2000">
                <a:solidFill>
                  <a:srgbClr val="000000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/>
              <a:buChar char="•"/>
              <a:defRPr lang="en-US" sz="1800" dirty="0">
                <a:solidFill>
                  <a:srgbClr val="000000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640080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Lucida Grande"/>
              <a:buChar char="-"/>
              <a:defRPr sz="1600">
                <a:solidFill>
                  <a:srgbClr val="000000"/>
                </a:solidFill>
              </a:defRPr>
            </a:lvl3pPr>
            <a:lvl4pPr marL="804672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1400">
                <a:solidFill>
                  <a:srgbClr val="000000"/>
                </a:solidFill>
              </a:defRPr>
            </a:lvl4pPr>
            <a:lvl5pPr marL="996696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400" baseline="0">
                <a:solidFill>
                  <a:srgbClr val="000000"/>
                </a:solidFill>
              </a:defRPr>
            </a:lvl5pPr>
            <a:lvl6pPr marL="1575054" indent="-285750">
              <a:buClr>
                <a:schemeClr val="accent2"/>
              </a:buClr>
              <a:buFont typeface="Lucida Grande"/>
              <a:buChar char="-"/>
              <a:defRPr/>
            </a:lvl6pPr>
          </a:lstStyle>
          <a:p>
            <a:pPr lvl="0"/>
            <a:r>
              <a:rPr lang="en-US" dirty="0"/>
              <a:t>Click to edit [Arial, 20pt]</a:t>
            </a:r>
          </a:p>
          <a:p>
            <a:pPr lvl="1"/>
            <a:r>
              <a:rPr lang="en-US" dirty="0"/>
              <a:t>Second level text [Arial, 18pt]</a:t>
            </a:r>
          </a:p>
          <a:p>
            <a:pPr lvl="2"/>
            <a:r>
              <a:rPr lang="en-US" dirty="0"/>
              <a:t>Third level text [Arial, 16pt]</a:t>
            </a:r>
          </a:p>
          <a:p>
            <a:pPr lvl="3"/>
            <a:r>
              <a:rPr lang="en-US" dirty="0"/>
              <a:t>Fourth level text [Arial, 14pt]</a:t>
            </a:r>
          </a:p>
          <a:p>
            <a:pPr lvl="4"/>
            <a:r>
              <a:rPr lang="en-US" dirty="0"/>
              <a:t>Fifth level text [Arial, 14pt]</a:t>
            </a:r>
          </a:p>
        </p:txBody>
      </p:sp>
      <p:sp>
        <p:nvSpPr>
          <p:cNvPr id="11" name="Slide Number Placeholder 1"/>
          <p:cNvSpPr txBox="1">
            <a:spLocks/>
          </p:cNvSpPr>
          <p:nvPr userDrawn="1"/>
        </p:nvSpPr>
        <p:spPr>
          <a:xfrm>
            <a:off x="67716" y="6338894"/>
            <a:ext cx="507868" cy="2778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F8F8DD-F1D8-4C18-8A72-68D9250FE803}" type="slidenum">
              <a:rPr lang="en-US" smtClean="0">
                <a:solidFill>
                  <a:srgbClr val="646568"/>
                </a:solidFill>
              </a:rPr>
              <a:pPr/>
              <a:t>‹#›</a:t>
            </a:fld>
            <a:endParaRPr lang="en-US" dirty="0">
              <a:solidFill>
                <a:srgbClr val="646568"/>
              </a:solidFill>
            </a:endParaRPr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5"/>
          </p:nvPr>
        </p:nvSpPr>
        <p:spPr>
          <a:xfrm>
            <a:off x="555831" y="6357594"/>
            <a:ext cx="2844059" cy="233713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646568"/>
                </a:solidFill>
              </a:defRPr>
            </a:lvl1pPr>
          </a:lstStyle>
          <a:p>
            <a:pPr defTabSz="914400"/>
            <a:endParaRPr lang="en-US" dirty="0"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8108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Line Title - Full Content Area - Takeaw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584048" y="851660"/>
            <a:ext cx="11037658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75584" y="5405742"/>
            <a:ext cx="11037658" cy="461665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tx2">
                  <a:lumMod val="75000"/>
                </a:schemeClr>
              </a:gs>
            </a:gsLst>
            <a:lin ang="5820000" scaled="0"/>
            <a:tileRect/>
          </a:gradFill>
          <a:effectLst>
            <a:reflection stA="28000" endPos="20000" dir="5400000" sy="-100000" algn="bl" rotWithShape="0"/>
          </a:effectLst>
        </p:spPr>
        <p:txBody>
          <a:bodyPr wrap="square" tIns="91440" bIns="91440">
            <a:spAutoFit/>
          </a:bodyPr>
          <a:lstStyle>
            <a:lvl1pPr marL="0" indent="0" algn="ctr">
              <a:buNone/>
              <a:defRPr lang="en-US" sz="1800" b="1" kern="1200" baseline="0" dirty="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98159" y="0"/>
            <a:ext cx="11015087" cy="854964"/>
          </a:xfrm>
          <a:prstGeom prst="rect">
            <a:avLst/>
          </a:prstGeom>
        </p:spPr>
        <p:txBody>
          <a:bodyPr vert="horz" lIns="0" rIns="0" anchor="b"/>
          <a:lstStyle>
            <a:lvl1pPr>
              <a:lnSpc>
                <a:spcPts val="2800"/>
              </a:lnSpc>
              <a:defRPr sz="28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Add Title [Arial, bold, 28pt]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584048" y="1066800"/>
            <a:ext cx="11037658" cy="426720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2286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2000">
                <a:solidFill>
                  <a:srgbClr val="000000"/>
                </a:solidFill>
              </a:defRPr>
            </a:lvl1pPr>
            <a:lvl2pPr marL="457200" indent="-2286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/>
              <a:buChar char="•"/>
              <a:defRPr lang="en-US" sz="1800" dirty="0">
                <a:solidFill>
                  <a:srgbClr val="000000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640080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Lucida Grande"/>
              <a:buChar char="-"/>
              <a:defRPr sz="1600">
                <a:solidFill>
                  <a:srgbClr val="000000"/>
                </a:solidFill>
              </a:defRPr>
            </a:lvl3pPr>
            <a:lvl4pPr marL="804672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charset="2"/>
              <a:buChar char="§"/>
              <a:defRPr sz="1400">
                <a:solidFill>
                  <a:srgbClr val="000000"/>
                </a:solidFill>
              </a:defRPr>
            </a:lvl4pPr>
            <a:lvl5pPr marL="996696" indent="-18288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400" baseline="0">
                <a:solidFill>
                  <a:srgbClr val="000000"/>
                </a:solidFill>
              </a:defRPr>
            </a:lvl5pPr>
            <a:lvl6pPr marL="1575054" indent="-285750">
              <a:buClr>
                <a:schemeClr val="accent2"/>
              </a:buClr>
              <a:buFont typeface="Lucida Grande"/>
              <a:buChar char="-"/>
              <a:defRPr/>
            </a:lvl6pPr>
          </a:lstStyle>
          <a:p>
            <a:pPr lvl="0"/>
            <a:r>
              <a:rPr lang="en-US" dirty="0"/>
              <a:t>Click to edit [Arial, 20pt]</a:t>
            </a:r>
          </a:p>
          <a:p>
            <a:pPr lvl="1"/>
            <a:r>
              <a:rPr lang="en-US" dirty="0"/>
              <a:t>Second level text [Arial, 18pt]</a:t>
            </a:r>
          </a:p>
          <a:p>
            <a:pPr lvl="2"/>
            <a:r>
              <a:rPr lang="en-US" dirty="0"/>
              <a:t>Third level text [Arial, 16pt]</a:t>
            </a:r>
          </a:p>
          <a:p>
            <a:pPr lvl="3"/>
            <a:r>
              <a:rPr lang="en-US" dirty="0"/>
              <a:t>Fourth level text [Arial, 14pt]</a:t>
            </a:r>
          </a:p>
          <a:p>
            <a:pPr lvl="4"/>
            <a:r>
              <a:rPr lang="en-US" dirty="0"/>
              <a:t>Fifth level text [Arial, 14pt]</a:t>
            </a:r>
          </a:p>
        </p:txBody>
      </p:sp>
      <p:sp>
        <p:nvSpPr>
          <p:cNvPr id="13" name="Slide Number Placeholder 1"/>
          <p:cNvSpPr txBox="1">
            <a:spLocks/>
          </p:cNvSpPr>
          <p:nvPr userDrawn="1"/>
        </p:nvSpPr>
        <p:spPr>
          <a:xfrm>
            <a:off x="67716" y="6338894"/>
            <a:ext cx="507868" cy="2778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F8F8DD-F1D8-4C18-8A72-68D9250FE803}" type="slidenum">
              <a:rPr lang="en-US" smtClean="0">
                <a:solidFill>
                  <a:srgbClr val="646568"/>
                </a:solidFill>
              </a:rPr>
              <a:pPr/>
              <a:t>‹#›</a:t>
            </a:fld>
            <a:endParaRPr lang="en-US" dirty="0">
              <a:solidFill>
                <a:srgbClr val="646568"/>
              </a:solidFill>
            </a:endParaRPr>
          </a:p>
        </p:txBody>
      </p:sp>
      <p:sp>
        <p:nvSpPr>
          <p:cNvPr id="11" name="Date Placeholder 1"/>
          <p:cNvSpPr>
            <a:spLocks noGrp="1"/>
          </p:cNvSpPr>
          <p:nvPr>
            <p:ph type="dt" sz="half" idx="15"/>
          </p:nvPr>
        </p:nvSpPr>
        <p:spPr>
          <a:xfrm>
            <a:off x="555831" y="6357594"/>
            <a:ext cx="2844059" cy="233713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646568"/>
                </a:solidFill>
              </a:defRPr>
            </a:lvl1pPr>
          </a:lstStyle>
          <a:p>
            <a:pPr defTabSz="914400"/>
            <a:endParaRPr lang="en-US" dirty="0"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2921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pic>
        <p:nvPicPr>
          <p:cNvPr id="4" name="Picture 1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246" y="5802146"/>
            <a:ext cx="1038423" cy="75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04953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jpeg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23377608"/>
              </p:ext>
            </p:extLst>
          </p:nvPr>
        </p:nvGraphicFramePr>
        <p:xfrm>
          <a:off x="2122" y="1592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5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1592"/>
                        <a:ext cx="21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74010" y="6302580"/>
            <a:ext cx="189872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defTabSz="914400"/>
            <a:r>
              <a:rPr lang="en-US" sz="1400" dirty="0">
                <a:solidFill>
                  <a:srgbClr val="B2082A"/>
                </a:solidFill>
                <a:ea typeface="ＭＳ Ｐゴシック" pitchFamily="34" charset="-128"/>
                <a:cs typeface="+mn-cs"/>
              </a:rPr>
              <a:t>|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8898" y="6311047"/>
            <a:ext cx="2750681" cy="37917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01" y="6656070"/>
            <a:ext cx="1220182" cy="125730"/>
          </a:xfrm>
          <a:prstGeom prst="rect">
            <a:avLst/>
          </a:prstGeom>
        </p:spPr>
      </p:pic>
      <p:pic>
        <p:nvPicPr>
          <p:cNvPr id="7" name="Picture 9" descr="Copy (2) of Kalyani - Logo"/>
          <p:cNvPicPr>
            <a:picLocks noChangeAspect="1" noChangeArrowheads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9716" y="6092598"/>
            <a:ext cx="95860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lide Number Placeholder 1"/>
          <p:cNvSpPr txBox="1">
            <a:spLocks/>
          </p:cNvSpPr>
          <p:nvPr/>
        </p:nvSpPr>
        <p:spPr>
          <a:xfrm>
            <a:off x="67716" y="6338894"/>
            <a:ext cx="507868" cy="2778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EF8F8DD-F1D8-4C18-8A72-68D9250FE803}" type="slidenum">
              <a:rPr lang="en-US" smtClean="0">
                <a:solidFill>
                  <a:srgbClr val="646568"/>
                </a:solidFill>
              </a:rPr>
              <a:pPr/>
              <a:t>‹#›</a:t>
            </a:fld>
            <a:endParaRPr lang="en-US" dirty="0">
              <a:solidFill>
                <a:srgbClr val="6465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902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34" charset="-128"/>
          <a:cs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166688" indent="-166688" algn="l" defTabSz="457200" rtl="0" eaLnBrk="1" fontAlgn="base" hangingPunct="1">
        <a:spcBef>
          <a:spcPct val="20000"/>
        </a:spcBef>
        <a:spcAft>
          <a:spcPct val="0"/>
        </a:spcAft>
        <a:buChar char="•"/>
        <a:defRPr sz="2600">
          <a:solidFill>
            <a:srgbClr val="4D4D4D"/>
          </a:solidFill>
          <a:latin typeface="+mn-lt"/>
          <a:ea typeface="ＭＳ Ｐゴシック" pitchFamily="34" charset="-128"/>
          <a:cs typeface="ＭＳ Ｐゴシック" pitchFamily="34" charset="-128"/>
        </a:defRPr>
      </a:lvl1pPr>
      <a:lvl2pPr marL="458788" indent="-230188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2200">
          <a:solidFill>
            <a:srgbClr val="4D4D4D"/>
          </a:solidFill>
          <a:latin typeface="+mn-lt"/>
          <a:ea typeface="ヒラギノ角ゴ Pro W3" charset="0"/>
          <a:cs typeface="Arial" charset="0"/>
        </a:defRPr>
      </a:lvl2pPr>
      <a:lvl3pPr marL="752475" indent="-1778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Lucida Grande" charset="0"/>
        <a:buChar char="»"/>
        <a:defRPr sz="2000">
          <a:solidFill>
            <a:srgbClr val="4D4D4D"/>
          </a:solidFill>
          <a:latin typeface="+mn-lt"/>
          <a:ea typeface="Arial" charset="0"/>
          <a:cs typeface="Arial" charset="0"/>
        </a:defRPr>
      </a:lvl3pPr>
      <a:lvl4pPr marL="1031875" indent="-1651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>
          <a:solidFill>
            <a:srgbClr val="4D4D4D"/>
          </a:solidFill>
          <a:latin typeface="+mn-lt"/>
          <a:ea typeface="Arial" charset="0"/>
          <a:cs typeface="Arial" charset="0"/>
        </a:defRPr>
      </a:lvl4pPr>
      <a:lvl5pPr marL="1374775" indent="-165100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600">
          <a:solidFill>
            <a:srgbClr val="4D4D4D"/>
          </a:solidFill>
          <a:latin typeface="+mn-lt"/>
          <a:ea typeface="Arial" charset="0"/>
          <a:cs typeface="Arial" charset="0"/>
        </a:defRPr>
      </a:lvl5pPr>
      <a:lvl6pPr marL="1831975" indent="-165100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600">
          <a:solidFill>
            <a:srgbClr val="4D4D4D"/>
          </a:solidFill>
          <a:latin typeface="+mn-lt"/>
          <a:ea typeface="+mn-ea"/>
          <a:cs typeface="Arial" charset="0"/>
        </a:defRPr>
      </a:lvl6pPr>
      <a:lvl7pPr marL="2289175" indent="-165100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600">
          <a:solidFill>
            <a:srgbClr val="4D4D4D"/>
          </a:solidFill>
          <a:latin typeface="+mn-lt"/>
          <a:ea typeface="+mn-ea"/>
          <a:cs typeface="Arial" charset="0"/>
        </a:defRPr>
      </a:lvl7pPr>
      <a:lvl8pPr marL="2746375" indent="-165100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600">
          <a:solidFill>
            <a:srgbClr val="4D4D4D"/>
          </a:solidFill>
          <a:latin typeface="+mn-lt"/>
          <a:ea typeface="+mn-ea"/>
          <a:cs typeface="Arial" charset="0"/>
        </a:defRPr>
      </a:lvl8pPr>
      <a:lvl9pPr marL="3203575" indent="-165100" algn="l" defTabSz="457200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600">
          <a:solidFill>
            <a:srgbClr val="4D4D4D"/>
          </a:solidFill>
          <a:latin typeface="+mn-lt"/>
          <a:ea typeface="+mn-ea"/>
          <a:cs typeface="Arial" charset="0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jpe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jpe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slideLayout" Target="../slideLayouts/slideLayout10.xml"/><Relationship Id="rId7" Type="http://schemas.openxmlformats.org/officeDocument/2006/relationships/chart" Target="../charts/char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10" Type="http://schemas.openxmlformats.org/officeDocument/2006/relationships/chart" Target="../charts/chart6.xml"/><Relationship Id="rId4" Type="http://schemas.openxmlformats.org/officeDocument/2006/relationships/notesSlide" Target="../notesSlides/notesSlide3.xml"/><Relationship Id="rId9" Type="http://schemas.openxmlformats.org/officeDocument/2006/relationships/chart" Target="../charts/char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chart" Target="../charts/chart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ea typeface="宋体" pitchFamily="2" charset="-122"/>
              </a:rPr>
              <a:t>Automotive Axles Limited</a:t>
            </a:r>
            <a:br>
              <a:rPr lang="en-GB" dirty="0">
                <a:ea typeface="宋体" pitchFamily="2" charset="-122"/>
              </a:rPr>
            </a:b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547468" y="5994402"/>
            <a:ext cx="4062942" cy="406398"/>
          </a:xfrm>
        </p:spPr>
        <p:txBody>
          <a:bodyPr/>
          <a:lstStyle/>
          <a:p>
            <a:r>
              <a:rPr lang="en-US" sz="2000" b="1" dirty="0"/>
              <a:t>February 2019</a:t>
            </a:r>
          </a:p>
        </p:txBody>
      </p:sp>
    </p:spTree>
    <p:extLst>
      <p:ext uri="{BB962C8B-B14F-4D97-AF65-F5344CB8AC3E}">
        <p14:creationId xmlns:p14="http://schemas.microsoft.com/office/powerpoint/2010/main" val="2517153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81904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86924" y="838200"/>
            <a:ext cx="10755888" cy="4800600"/>
          </a:xfrm>
        </p:spPr>
        <p:txBody>
          <a:bodyPr/>
          <a:lstStyle/>
          <a:p>
            <a:pPr marL="3089275" indent="-3089275">
              <a:spcAft>
                <a:spcPts val="400"/>
              </a:spcAft>
              <a:buNone/>
            </a:pPr>
            <a:r>
              <a:rPr lang="en-US" sz="1750" dirty="0">
                <a:latin typeface="Helvetica" pitchFamily="34" charset="0"/>
              </a:rPr>
              <a:t>FY19: REVENUE -  YTD performance:  ₹1,460 Cr; FY Outlook : ₹1,900 to 1,950 Cr</a:t>
            </a:r>
          </a:p>
          <a:p>
            <a:pPr marL="3089275" indent="-2406650">
              <a:spcAft>
                <a:spcPts val="400"/>
              </a:spcAft>
              <a:buNone/>
            </a:pPr>
            <a:r>
              <a:rPr lang="en-US" sz="1750" dirty="0">
                <a:latin typeface="Helvetica" pitchFamily="34" charset="0"/>
              </a:rPr>
              <a:t>EBIDTA - YTD performance:  ₹173 Cr (11.8%); FY Outlook: 11.5% to 11.7%</a:t>
            </a:r>
          </a:p>
          <a:p>
            <a:pPr marL="2795588" indent="-2112963">
              <a:spcAft>
                <a:spcPts val="400"/>
              </a:spcAft>
              <a:buNone/>
            </a:pPr>
            <a:r>
              <a:rPr lang="en-US" sz="1750" dirty="0">
                <a:latin typeface="Helvetica" pitchFamily="34" charset="0"/>
              </a:rPr>
              <a:t>PBT - YTD performance:  ₹136 Cr (9.3%); FY Outlook: 9.0% to 9.2%</a:t>
            </a:r>
            <a:br>
              <a:rPr lang="en-US" sz="1600" dirty="0">
                <a:latin typeface="Helvetica" pitchFamily="34" charset="0"/>
              </a:rPr>
            </a:br>
            <a:endParaRPr lang="en-US" sz="1600" dirty="0">
              <a:latin typeface="Helvetica" pitchFamily="34" charset="0"/>
            </a:endParaRPr>
          </a:p>
          <a:p>
            <a:pPr marL="3998913" indent="-3998913">
              <a:spcBef>
                <a:spcPts val="400"/>
              </a:spcBef>
              <a:buNone/>
            </a:pPr>
            <a:r>
              <a:rPr lang="en-US" sz="1750" dirty="0">
                <a:latin typeface="Helvetica" pitchFamily="34" charset="0"/>
              </a:rPr>
              <a:t>MANUFACTURING LOCATIONS - 3 Manufacturing locations: Mysore, Jamshedpur, </a:t>
            </a:r>
            <a:r>
              <a:rPr lang="en-US" sz="1750" dirty="0" err="1">
                <a:latin typeface="Helvetica" pitchFamily="34" charset="0"/>
              </a:rPr>
              <a:t>Pantnagar</a:t>
            </a:r>
            <a:endParaRPr lang="en-US" sz="1750" dirty="0">
              <a:latin typeface="Helvetica" pitchFamily="34" charset="0"/>
            </a:endParaRPr>
          </a:p>
          <a:p>
            <a:pPr marL="0" indent="0">
              <a:spcBef>
                <a:spcPts val="400"/>
              </a:spcBef>
              <a:buNone/>
            </a:pPr>
            <a:endParaRPr lang="en-US" sz="1750" dirty="0">
              <a:latin typeface="Helvetica" pitchFamily="34" charset="0"/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en-US" sz="1750" dirty="0">
                <a:latin typeface="Helvetica" pitchFamily="34" charset="0"/>
              </a:rPr>
              <a:t>EQUITY SHARE: Meritor </a:t>
            </a:r>
            <a:r>
              <a:rPr lang="en-US" sz="1750" dirty="0" err="1">
                <a:latin typeface="Helvetica" pitchFamily="34" charset="0"/>
              </a:rPr>
              <a:t>Inc</a:t>
            </a:r>
            <a:r>
              <a:rPr lang="en-US" sz="1750" dirty="0">
                <a:latin typeface="Helvetica" pitchFamily="34" charset="0"/>
              </a:rPr>
              <a:t>, USA – 35.5%, </a:t>
            </a:r>
            <a:r>
              <a:rPr lang="en-US" sz="1750" dirty="0" err="1">
                <a:latin typeface="Helvetica" pitchFamily="34" charset="0"/>
              </a:rPr>
              <a:t>Kalyani</a:t>
            </a:r>
            <a:r>
              <a:rPr lang="en-US" sz="1750" dirty="0">
                <a:latin typeface="Helvetica" pitchFamily="34" charset="0"/>
              </a:rPr>
              <a:t> Group – 35.5%, Public – 29%</a:t>
            </a:r>
          </a:p>
          <a:p>
            <a:pPr marL="0" indent="0">
              <a:spcBef>
                <a:spcPts val="400"/>
              </a:spcBef>
              <a:buNone/>
            </a:pPr>
            <a:endParaRPr lang="en-US" sz="1750" dirty="0">
              <a:latin typeface="Helvetica" pitchFamily="34" charset="0"/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en-US" sz="1750" dirty="0">
                <a:latin typeface="Helvetica" pitchFamily="34" charset="0"/>
              </a:rPr>
              <a:t>WORKFORCE - 2,000+ employees </a:t>
            </a:r>
          </a:p>
          <a:p>
            <a:pPr marL="0" indent="0">
              <a:spcBef>
                <a:spcPts val="400"/>
              </a:spcBef>
              <a:buNone/>
            </a:pPr>
            <a:endParaRPr lang="en-US" sz="1750" dirty="0">
              <a:latin typeface="Helvetica" pitchFamily="34" charset="0"/>
            </a:endParaRPr>
          </a:p>
          <a:p>
            <a:pPr marL="0" indent="0">
              <a:spcBef>
                <a:spcPts val="400"/>
              </a:spcBef>
              <a:buNone/>
            </a:pPr>
            <a:r>
              <a:rPr lang="en-US" sz="1750" dirty="0">
                <a:latin typeface="Helvetica" pitchFamily="34" charset="0"/>
              </a:rPr>
              <a:t>CUSTOMERS – All major CV, specialty and defense OEMs</a:t>
            </a:r>
          </a:p>
          <a:p>
            <a:pPr marL="0" indent="0">
              <a:spcBef>
                <a:spcPts val="400"/>
              </a:spcBef>
              <a:buNone/>
            </a:pPr>
            <a:endParaRPr lang="en-US" sz="1750" dirty="0">
              <a:latin typeface="Helvetica" pitchFamily="34" charset="0"/>
            </a:endParaRPr>
          </a:p>
          <a:p>
            <a:pPr marL="1709738" indent="-1709738">
              <a:spcBef>
                <a:spcPts val="400"/>
              </a:spcBef>
              <a:buNone/>
            </a:pPr>
            <a:r>
              <a:rPr lang="en-US" sz="1750" dirty="0">
                <a:latin typeface="Helvetica" pitchFamily="34" charset="0"/>
              </a:rPr>
              <a:t>PRODUCTS – Axles, brakes and suspension systems</a:t>
            </a:r>
          </a:p>
          <a:p>
            <a:pPr marL="1709738" indent="-1709738">
              <a:spcBef>
                <a:spcPts val="400"/>
              </a:spcBef>
              <a:buNone/>
            </a:pPr>
            <a:endParaRPr lang="en-US" sz="1750" dirty="0">
              <a:latin typeface="Helvetica" pitchFamily="34" charset="0"/>
            </a:endParaRPr>
          </a:p>
          <a:p>
            <a:pPr marL="1709738" indent="-1709738">
              <a:spcBef>
                <a:spcPts val="400"/>
              </a:spcBef>
              <a:buNone/>
            </a:pPr>
            <a:r>
              <a:rPr lang="en-US" sz="1750" dirty="0">
                <a:latin typeface="Helvetica" pitchFamily="34" charset="0"/>
              </a:rPr>
              <a:t>MARKET POSITION - #1 in Axles (independent) &amp; #2 in Brak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napshot FY19</a:t>
            </a:r>
          </a:p>
        </p:txBody>
      </p:sp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2" y="1985056"/>
            <a:ext cx="573672" cy="529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AutoShape 7" descr="Image result for equity share picture"/>
          <p:cNvSpPr>
            <a:spLocks noChangeAspect="1" noChangeArrowheads="1"/>
          </p:cNvSpPr>
          <p:nvPr/>
        </p:nvSpPr>
        <p:spPr bwMode="auto">
          <a:xfrm>
            <a:off x="155574" y="-144463"/>
            <a:ext cx="304801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129" name="Picture 9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012" y="1118246"/>
            <a:ext cx="573672" cy="558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11" descr="Image result for equity share image"/>
          <p:cNvSpPr>
            <a:spLocks noChangeAspect="1" noChangeArrowheads="1"/>
          </p:cNvSpPr>
          <p:nvPr/>
        </p:nvSpPr>
        <p:spPr bwMode="auto">
          <a:xfrm>
            <a:off x="307974" y="7938"/>
            <a:ext cx="304801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132" name="Picture 1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612" y="2554117"/>
            <a:ext cx="1090356" cy="874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3" name="Picture 1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2" y="3471862"/>
            <a:ext cx="719138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5" name="Picture 15" descr="Image result for customer icon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812" y="4116388"/>
            <a:ext cx="912812" cy="912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6" name="Picture 16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2" t="5365" r="8556" b="19658"/>
          <a:stretch/>
        </p:blipFill>
        <p:spPr bwMode="auto">
          <a:xfrm>
            <a:off x="655439" y="4953000"/>
            <a:ext cx="714573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2" t="14804" r="6078" b="21636"/>
          <a:stretch/>
        </p:blipFill>
        <p:spPr bwMode="auto">
          <a:xfrm>
            <a:off x="455612" y="5911215"/>
            <a:ext cx="1064262" cy="413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09004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E87A2D2-CEBA-485C-A65E-36F6FDC62D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erse End Markets and Major Customers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EECAC9AC-73A8-45DA-A51E-C76B72C351CE}"/>
              </a:ext>
            </a:extLst>
          </p:cNvPr>
          <p:cNvCxnSpPr>
            <a:cxnSpLocks/>
          </p:cNvCxnSpPr>
          <p:nvPr/>
        </p:nvCxnSpPr>
        <p:spPr>
          <a:xfrm>
            <a:off x="6203046" y="1311967"/>
            <a:ext cx="5377767" cy="33623"/>
          </a:xfrm>
          <a:prstGeom prst="line">
            <a:avLst/>
          </a:prstGeom>
          <a:ln w="38100">
            <a:solidFill>
              <a:srgbClr val="B2082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itle 2">
            <a:extLst>
              <a:ext uri="{FF2B5EF4-FFF2-40B4-BE49-F238E27FC236}">
                <a16:creationId xmlns:a16="http://schemas.microsoft.com/office/drawing/2014/main" id="{64837854-D3CB-45C4-AC5F-D823DCFDAD1F}"/>
              </a:ext>
            </a:extLst>
          </p:cNvPr>
          <p:cNvSpPr txBox="1">
            <a:spLocks/>
          </p:cNvSpPr>
          <p:nvPr/>
        </p:nvSpPr>
        <p:spPr>
          <a:xfrm>
            <a:off x="6203046" y="864210"/>
            <a:ext cx="3750665" cy="431190"/>
          </a:xfrm>
          <a:prstGeom prst="rect">
            <a:avLst/>
          </a:prstGeom>
        </p:spPr>
        <p:txBody>
          <a:bodyPr lIns="0" tIns="60126" rIns="0" bIns="60126" anchor="b"/>
          <a:lstStyle>
            <a:lvl1pPr algn="l" rtl="0" eaLnBrk="1" fontAlgn="base" hangingPunct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defRPr sz="2100" b="1" baseline="0">
                <a:solidFill>
                  <a:srgbClr val="000000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6915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383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0745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765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defTabSz="609448">
              <a:lnSpc>
                <a:spcPct val="100000"/>
              </a:lnSpc>
            </a:pPr>
            <a:r>
              <a:rPr lang="en-US" sz="2133" dirty="0">
                <a:ea typeface="MS PGothic" charset="0"/>
              </a:rPr>
              <a:t>Major Customers 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17AD28B5-9584-48D9-9FA3-39871D150D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8273" y="1676203"/>
            <a:ext cx="3333946" cy="685997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0FE65215-4D1E-4BB8-AD48-7481CC2CC9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486611" y="2819400"/>
            <a:ext cx="2874608" cy="431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9B0D340B-D873-4010-83F3-6A62296902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611" t="17287" r="13510" b="17253"/>
          <a:stretch/>
        </p:blipFill>
        <p:spPr>
          <a:xfrm>
            <a:off x="10199419" y="1392504"/>
            <a:ext cx="1219200" cy="1075951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2D0053EB-F0AD-4CE5-B812-6DDB933DB2C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2155" b="43325"/>
          <a:stretch/>
        </p:blipFill>
        <p:spPr>
          <a:xfrm>
            <a:off x="6389419" y="3886200"/>
            <a:ext cx="3703647" cy="534676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21BA6BD8-F135-4655-B521-17C3FD1F32E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18419" y="2647548"/>
            <a:ext cx="2143393" cy="831764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E4BC9EA5-7CED-4612-8507-E024229C03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51819" y="3657600"/>
            <a:ext cx="1047750" cy="104775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69F1F40E-1618-4769-9D30-421E7AAACF8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24734" b="21797"/>
          <a:stretch/>
        </p:blipFill>
        <p:spPr>
          <a:xfrm>
            <a:off x="8258860" y="4876800"/>
            <a:ext cx="1721484" cy="920450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C8B670D1-6126-42E1-BD08-4E126E12828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99419" y="4627749"/>
            <a:ext cx="1150117" cy="1169501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D331AD89-79C8-4ED3-B92B-374ADDDC5FAE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1819" y="4733682"/>
            <a:ext cx="1133718" cy="113371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AE47275-AB01-4572-9583-A5A01DF4EA0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2668" y="1524000"/>
            <a:ext cx="5433112" cy="4666727"/>
          </a:xfrm>
          <a:prstGeom prst="rect">
            <a:avLst/>
          </a:prstGeom>
        </p:spPr>
      </p:pic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9005B89-813C-40BA-A0DC-336975274966}"/>
              </a:ext>
            </a:extLst>
          </p:cNvPr>
          <p:cNvCxnSpPr>
            <a:cxnSpLocks/>
          </p:cNvCxnSpPr>
          <p:nvPr/>
        </p:nvCxnSpPr>
        <p:spPr>
          <a:xfrm>
            <a:off x="608012" y="1285957"/>
            <a:ext cx="5377767" cy="33623"/>
          </a:xfrm>
          <a:prstGeom prst="line">
            <a:avLst/>
          </a:prstGeom>
          <a:ln w="38100">
            <a:solidFill>
              <a:srgbClr val="B2082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Title 2">
            <a:extLst>
              <a:ext uri="{FF2B5EF4-FFF2-40B4-BE49-F238E27FC236}">
                <a16:creationId xmlns:a16="http://schemas.microsoft.com/office/drawing/2014/main" id="{9F2C13E9-BB1B-4AB6-B9A4-59BBEEFCC348}"/>
              </a:ext>
            </a:extLst>
          </p:cNvPr>
          <p:cNvSpPr txBox="1">
            <a:spLocks/>
          </p:cNvSpPr>
          <p:nvPr/>
        </p:nvSpPr>
        <p:spPr>
          <a:xfrm>
            <a:off x="608012" y="838200"/>
            <a:ext cx="3750665" cy="431190"/>
          </a:xfrm>
          <a:prstGeom prst="rect">
            <a:avLst/>
          </a:prstGeom>
        </p:spPr>
        <p:txBody>
          <a:bodyPr lIns="0" tIns="60126" rIns="0" bIns="60126" anchor="b"/>
          <a:lstStyle>
            <a:lvl1pPr algn="l" rtl="0" eaLnBrk="1" fontAlgn="base" hangingPunct="1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defRPr sz="2100" b="1" baseline="0">
                <a:solidFill>
                  <a:srgbClr val="000000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6915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383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0745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7656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defTabSz="609448">
              <a:lnSpc>
                <a:spcPct val="100000"/>
              </a:lnSpc>
            </a:pPr>
            <a:r>
              <a:rPr lang="en-US" sz="2133" dirty="0">
                <a:ea typeface="MS PGothic" charset="0"/>
              </a:rPr>
              <a:t>Diverse End Markets </a:t>
            </a:r>
          </a:p>
        </p:txBody>
      </p:sp>
    </p:spTree>
    <p:extLst>
      <p:ext uri="{BB962C8B-B14F-4D97-AF65-F5344CB8AC3E}">
        <p14:creationId xmlns:p14="http://schemas.microsoft.com/office/powerpoint/2010/main" val="4911729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84"/>
          <p:cNvSpPr>
            <a:spLocks noChangeArrowheads="1"/>
          </p:cNvSpPr>
          <p:nvPr/>
        </p:nvSpPr>
        <p:spPr bwMode="auto">
          <a:xfrm rot="10800000">
            <a:off x="165057" y="5841999"/>
            <a:ext cx="11928543" cy="463550"/>
          </a:xfrm>
          <a:prstGeom prst="rect">
            <a:avLst/>
          </a:prstGeom>
          <a:gradFill flip="none" rotWithShape="1">
            <a:gsLst>
              <a:gs pos="0">
                <a:srgbClr val="0D2038">
                  <a:alpha val="89998"/>
                </a:srgbClr>
              </a:gs>
              <a:gs pos="100000">
                <a:srgbClr val="074175">
                  <a:alpha val="89998"/>
                </a:srgbClr>
              </a:gs>
            </a:gsLst>
            <a:lin ang="0" scaled="1"/>
            <a:tileRect/>
          </a:gra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ＭＳ Ｐゴシック" charset="0"/>
              <a:cs typeface="ＭＳ Ｐゴシック"/>
            </a:endParaRPr>
          </a:p>
        </p:txBody>
      </p:sp>
      <p:sp>
        <p:nvSpPr>
          <p:cNvPr id="46082" name="Title 1"/>
          <p:cNvSpPr>
            <a:spLocks noGrp="1"/>
          </p:cNvSpPr>
          <p:nvPr>
            <p:ph type="title"/>
          </p:nvPr>
        </p:nvSpPr>
        <p:spPr>
          <a:xfrm>
            <a:off x="579417" y="152400"/>
            <a:ext cx="11001395" cy="702564"/>
          </a:xfrm>
        </p:spPr>
        <p:txBody>
          <a:bodyPr vert="horz" lIns="0" rIns="0" anchor="b"/>
          <a:lstStyle/>
          <a:p>
            <a:r>
              <a:rPr lang="en-US" altLang="ja-JP" kern="1200" dirty="0"/>
              <a:t>Most Comprehensive Axle &amp; Brake Offerings</a:t>
            </a:r>
            <a:endParaRPr lang="en-US" altLang="en-US" kern="1200" dirty="0"/>
          </a:p>
        </p:txBody>
      </p:sp>
      <p:sp>
        <p:nvSpPr>
          <p:cNvPr id="76" name="Rectangle 75"/>
          <p:cNvSpPr>
            <a:spLocks noChangeArrowheads="1"/>
          </p:cNvSpPr>
          <p:nvPr/>
        </p:nvSpPr>
        <p:spPr bwMode="auto">
          <a:xfrm>
            <a:off x="9573308" y="5835650"/>
            <a:ext cx="1953175" cy="469900"/>
          </a:xfrm>
          <a:prstGeom prst="rect">
            <a:avLst/>
          </a:prstGeom>
          <a:noFill/>
          <a:ln>
            <a:noFill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en-US" sz="1600" b="1" dirty="0">
                <a:solidFill>
                  <a:srgbClr val="FFFFFF"/>
                </a:solidFill>
                <a:latin typeface="Arial" charset="0"/>
                <a:ea typeface="ＭＳ Ｐゴシック" charset="0"/>
              </a:rPr>
              <a:t>Extra Heavy</a:t>
            </a:r>
          </a:p>
        </p:txBody>
      </p:sp>
      <p:sp>
        <p:nvSpPr>
          <p:cNvPr id="46086" name="TextBox 55"/>
          <p:cNvSpPr txBox="1">
            <a:spLocks noChangeArrowheads="1"/>
          </p:cNvSpPr>
          <p:nvPr/>
        </p:nvSpPr>
        <p:spPr bwMode="auto">
          <a:xfrm>
            <a:off x="5038474" y="2908300"/>
            <a:ext cx="77238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FontTx/>
              <a:buNone/>
              <a:defRPr sz="1600" b="1">
                <a:solidFill>
                  <a:srgbClr val="4C4C4C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r>
              <a:rPr lang="en-US" altLang="en-US" dirty="0"/>
              <a:t>150</a:t>
            </a:r>
          </a:p>
        </p:txBody>
      </p:sp>
      <p:sp>
        <p:nvSpPr>
          <p:cNvPr id="46087" name="TextBox 55"/>
          <p:cNvSpPr txBox="1">
            <a:spLocks noChangeArrowheads="1"/>
          </p:cNvSpPr>
          <p:nvPr/>
        </p:nvSpPr>
        <p:spPr bwMode="auto">
          <a:xfrm>
            <a:off x="5887035" y="2919412"/>
            <a:ext cx="77449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4C4C4C"/>
                </a:solidFill>
              </a:rPr>
              <a:t>240</a:t>
            </a:r>
          </a:p>
        </p:txBody>
      </p:sp>
      <p:sp>
        <p:nvSpPr>
          <p:cNvPr id="46088" name="TextBox 55"/>
          <p:cNvSpPr txBox="1">
            <a:spLocks noChangeArrowheads="1"/>
          </p:cNvSpPr>
          <p:nvPr/>
        </p:nvSpPr>
        <p:spPr bwMode="auto">
          <a:xfrm>
            <a:off x="9298212" y="2917828"/>
            <a:ext cx="72582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4C4C4C"/>
                </a:solidFill>
              </a:rPr>
              <a:t>18X</a:t>
            </a:r>
          </a:p>
        </p:txBody>
      </p:sp>
      <p:sp>
        <p:nvSpPr>
          <p:cNvPr id="46089" name="TextBox 55"/>
          <p:cNvSpPr txBox="1">
            <a:spLocks noChangeArrowheads="1"/>
          </p:cNvSpPr>
          <p:nvPr/>
        </p:nvSpPr>
        <p:spPr bwMode="auto">
          <a:xfrm>
            <a:off x="10991103" y="2917828"/>
            <a:ext cx="713132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4C4C4C"/>
                </a:solidFill>
              </a:rPr>
              <a:t>610</a:t>
            </a:r>
          </a:p>
        </p:txBody>
      </p:sp>
      <p:sp>
        <p:nvSpPr>
          <p:cNvPr id="46090" name="TextBox 55"/>
          <p:cNvSpPr txBox="1">
            <a:spLocks noChangeArrowheads="1"/>
          </p:cNvSpPr>
          <p:nvPr/>
        </p:nvSpPr>
        <p:spPr bwMode="auto">
          <a:xfrm>
            <a:off x="6733482" y="2908303"/>
            <a:ext cx="757569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>
                <a:solidFill>
                  <a:srgbClr val="4C4C4C"/>
                </a:solidFill>
              </a:rPr>
              <a:t>17X</a:t>
            </a:r>
          </a:p>
        </p:txBody>
      </p:sp>
      <p:sp>
        <p:nvSpPr>
          <p:cNvPr id="46091" name="TextBox 55"/>
          <p:cNvSpPr txBox="1">
            <a:spLocks noChangeArrowheads="1"/>
          </p:cNvSpPr>
          <p:nvPr/>
        </p:nvSpPr>
        <p:spPr bwMode="auto">
          <a:xfrm>
            <a:off x="7598972" y="2919412"/>
            <a:ext cx="74064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4C4C4C"/>
                </a:solidFill>
              </a:rPr>
              <a:t>160</a:t>
            </a:r>
          </a:p>
        </p:txBody>
      </p:sp>
      <p:sp>
        <p:nvSpPr>
          <p:cNvPr id="46092" name="TextBox 55"/>
          <p:cNvSpPr txBox="1">
            <a:spLocks noChangeArrowheads="1"/>
          </p:cNvSpPr>
          <p:nvPr/>
        </p:nvSpPr>
        <p:spPr bwMode="auto">
          <a:xfrm>
            <a:off x="10119266" y="2909891"/>
            <a:ext cx="751222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>
                <a:solidFill>
                  <a:srgbClr val="4C4C4C"/>
                </a:solidFill>
              </a:rPr>
              <a:t>19X</a:t>
            </a:r>
          </a:p>
        </p:txBody>
      </p:sp>
      <p:sp>
        <p:nvSpPr>
          <p:cNvPr id="46093" name="TextBox 55"/>
          <p:cNvSpPr txBox="1">
            <a:spLocks noChangeArrowheads="1"/>
          </p:cNvSpPr>
          <p:nvPr/>
        </p:nvSpPr>
        <p:spPr bwMode="auto">
          <a:xfrm>
            <a:off x="903584" y="2917828"/>
            <a:ext cx="82316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4C4C4C"/>
                </a:solidFill>
              </a:rPr>
              <a:t>10X</a:t>
            </a:r>
          </a:p>
        </p:txBody>
      </p:sp>
      <p:pic>
        <p:nvPicPr>
          <p:cNvPr id="103" name="Picture 3" descr="860959b_-_LCV_Range_2008_-_34_Front_View_Cabstar%5B1%5D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8102" y="4624468"/>
            <a:ext cx="1689049" cy="757236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95" name="TextBox 55"/>
          <p:cNvSpPr txBox="1">
            <a:spLocks noChangeArrowheads="1"/>
          </p:cNvSpPr>
          <p:nvPr/>
        </p:nvSpPr>
        <p:spPr bwMode="auto">
          <a:xfrm>
            <a:off x="2537225" y="2917828"/>
            <a:ext cx="71313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4C4C4C"/>
                </a:solidFill>
              </a:rPr>
              <a:t>120</a:t>
            </a:r>
          </a:p>
        </p:txBody>
      </p:sp>
      <p:pic>
        <p:nvPicPr>
          <p:cNvPr id="113" name="Picture 5" descr="01_eicher_109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906622" y="3752850"/>
            <a:ext cx="1902387" cy="763588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97" name="TextBox 55"/>
          <p:cNvSpPr txBox="1">
            <a:spLocks noChangeArrowheads="1"/>
          </p:cNvSpPr>
          <p:nvPr/>
        </p:nvSpPr>
        <p:spPr bwMode="auto">
          <a:xfrm>
            <a:off x="3362508" y="2908303"/>
            <a:ext cx="768149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4C4C4C"/>
                </a:solidFill>
              </a:rPr>
              <a:t>13X</a:t>
            </a:r>
          </a:p>
        </p:txBody>
      </p:sp>
      <p:sp>
        <p:nvSpPr>
          <p:cNvPr id="46098" name="TextBox 55"/>
          <p:cNvSpPr txBox="1">
            <a:spLocks noChangeArrowheads="1"/>
          </p:cNvSpPr>
          <p:nvPr/>
        </p:nvSpPr>
        <p:spPr bwMode="auto">
          <a:xfrm>
            <a:off x="1635758" y="2908303"/>
            <a:ext cx="802007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4C4C4C"/>
                </a:solidFill>
              </a:rPr>
              <a:t>11X</a:t>
            </a:r>
          </a:p>
        </p:txBody>
      </p:sp>
      <p:sp>
        <p:nvSpPr>
          <p:cNvPr id="46100" name="TextBox 55"/>
          <p:cNvSpPr txBox="1">
            <a:spLocks noChangeArrowheads="1"/>
          </p:cNvSpPr>
          <p:nvPr/>
        </p:nvSpPr>
        <p:spPr bwMode="auto">
          <a:xfrm>
            <a:off x="4160283" y="2919412"/>
            <a:ext cx="829517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4C4C4C"/>
                </a:solidFill>
              </a:rPr>
              <a:t>14X</a:t>
            </a:r>
          </a:p>
        </p:txBody>
      </p:sp>
      <p:cxnSp>
        <p:nvCxnSpPr>
          <p:cNvPr id="9" name="Straight Connector 8"/>
          <p:cNvCxnSpPr>
            <a:cxnSpLocks noChangeShapeType="1"/>
          </p:cNvCxnSpPr>
          <p:nvPr/>
        </p:nvCxnSpPr>
        <p:spPr bwMode="auto">
          <a:xfrm>
            <a:off x="4579274" y="3856038"/>
            <a:ext cx="0" cy="854075"/>
          </a:xfrm>
          <a:prstGeom prst="line">
            <a:avLst/>
          </a:prstGeom>
          <a:noFill/>
          <a:ln w="25400">
            <a:solidFill>
              <a:srgbClr val="666666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6102" name="Picture 8" descr="HINO 700 Series Dump Truck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97563" y="4684716"/>
            <a:ext cx="1847368" cy="86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8" name="Straight Connector 77"/>
          <p:cNvCxnSpPr>
            <a:cxnSpLocks noChangeShapeType="1"/>
          </p:cNvCxnSpPr>
          <p:nvPr/>
        </p:nvCxnSpPr>
        <p:spPr bwMode="auto">
          <a:xfrm>
            <a:off x="11350843" y="3763966"/>
            <a:ext cx="0" cy="987425"/>
          </a:xfrm>
          <a:prstGeom prst="line">
            <a:avLst/>
          </a:prstGeom>
          <a:noFill/>
          <a:ln w="25400">
            <a:solidFill>
              <a:srgbClr val="666666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9" name="Straight Connector 78"/>
          <p:cNvCxnSpPr>
            <a:cxnSpLocks noChangeShapeType="1"/>
          </p:cNvCxnSpPr>
          <p:nvPr/>
        </p:nvCxnSpPr>
        <p:spPr bwMode="auto">
          <a:xfrm>
            <a:off x="7950246" y="3741738"/>
            <a:ext cx="0" cy="920750"/>
          </a:xfrm>
          <a:prstGeom prst="line">
            <a:avLst/>
          </a:prstGeom>
          <a:noFill/>
          <a:ln w="25400">
            <a:solidFill>
              <a:srgbClr val="666666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0" name="Straight Connector 79"/>
          <p:cNvCxnSpPr>
            <a:cxnSpLocks noChangeShapeType="1"/>
          </p:cNvCxnSpPr>
          <p:nvPr/>
        </p:nvCxnSpPr>
        <p:spPr bwMode="auto">
          <a:xfrm>
            <a:off x="5413023" y="1900241"/>
            <a:ext cx="0" cy="987425"/>
          </a:xfrm>
          <a:prstGeom prst="line">
            <a:avLst/>
          </a:prstGeom>
          <a:noFill/>
          <a:ln w="25400">
            <a:solidFill>
              <a:srgbClr val="666666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978678" y="3775075"/>
            <a:ext cx="1354314" cy="742950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107" name="Picture 1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7588" y="914400"/>
            <a:ext cx="2560500" cy="109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4" name="Straight Connector 133"/>
          <p:cNvCxnSpPr>
            <a:cxnSpLocks noChangeShapeType="1"/>
          </p:cNvCxnSpPr>
          <p:nvPr/>
        </p:nvCxnSpPr>
        <p:spPr bwMode="auto">
          <a:xfrm>
            <a:off x="2037820" y="1939928"/>
            <a:ext cx="0" cy="987425"/>
          </a:xfrm>
          <a:prstGeom prst="line">
            <a:avLst/>
          </a:prstGeom>
          <a:noFill/>
          <a:ln w="25400">
            <a:solidFill>
              <a:srgbClr val="666666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5" name="Straight Connector 134"/>
          <p:cNvCxnSpPr>
            <a:cxnSpLocks noChangeShapeType="1"/>
          </p:cNvCxnSpPr>
          <p:nvPr/>
        </p:nvCxnSpPr>
        <p:spPr bwMode="auto">
          <a:xfrm>
            <a:off x="1199838" y="3798889"/>
            <a:ext cx="0" cy="757237"/>
          </a:xfrm>
          <a:prstGeom prst="line">
            <a:avLst/>
          </a:prstGeom>
          <a:noFill/>
          <a:ln w="25400">
            <a:solidFill>
              <a:srgbClr val="666666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6" name="Straight Connector 135"/>
          <p:cNvCxnSpPr/>
          <p:nvPr/>
        </p:nvCxnSpPr>
        <p:spPr>
          <a:xfrm flipV="1">
            <a:off x="1335444" y="3336516"/>
            <a:ext cx="9884447" cy="1"/>
          </a:xfrm>
          <a:prstGeom prst="line">
            <a:avLst/>
          </a:prstGeom>
          <a:ln>
            <a:gradFill flip="none" rotWithShape="1">
              <a:gsLst>
                <a:gs pos="0">
                  <a:srgbClr val="09001C">
                    <a:alpha val="90000"/>
                  </a:srgbClr>
                </a:gs>
                <a:gs pos="38000">
                  <a:srgbClr val="060042">
                    <a:alpha val="90000"/>
                  </a:srgbClr>
                </a:gs>
                <a:gs pos="57000">
                  <a:srgbClr val="000079">
                    <a:alpha val="90000"/>
                  </a:srgbClr>
                </a:gs>
                <a:gs pos="85000">
                  <a:srgbClr val="0C1EA6">
                    <a:alpha val="90000"/>
                  </a:srgbClr>
                </a:gs>
              </a:gsLst>
              <a:lin ang="0" scaled="1"/>
              <a:tileRect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123" name="TextBox 55"/>
          <p:cNvSpPr txBox="1">
            <a:spLocks noChangeArrowheads="1"/>
          </p:cNvSpPr>
          <p:nvPr/>
        </p:nvSpPr>
        <p:spPr bwMode="auto">
          <a:xfrm>
            <a:off x="177755" y="2826666"/>
            <a:ext cx="895116" cy="430887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charset="0"/>
                <a:cs typeface="ＭＳ Ｐゴシック"/>
              </a:defRPr>
            </a:lvl1pPr>
          </a:lstStyle>
          <a:p>
            <a:r>
              <a:rPr lang="en-US" altLang="en-US" dirty="0"/>
              <a:t>Axle</a:t>
            </a:r>
          </a:p>
        </p:txBody>
      </p:sp>
      <p:cxnSp>
        <p:nvCxnSpPr>
          <p:cNvPr id="54" name="Straight Connector 53"/>
          <p:cNvCxnSpPr>
            <a:cxnSpLocks noChangeShapeType="1"/>
          </p:cNvCxnSpPr>
          <p:nvPr/>
        </p:nvCxnSpPr>
        <p:spPr bwMode="auto">
          <a:xfrm>
            <a:off x="8813622" y="2070100"/>
            <a:ext cx="0" cy="827088"/>
          </a:xfrm>
          <a:prstGeom prst="line">
            <a:avLst/>
          </a:prstGeom>
          <a:noFill/>
          <a:ln w="25400">
            <a:solidFill>
              <a:srgbClr val="666666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6127" name="TextBox 55"/>
          <p:cNvSpPr txBox="1">
            <a:spLocks noChangeArrowheads="1"/>
          </p:cNvSpPr>
          <p:nvPr/>
        </p:nvSpPr>
        <p:spPr bwMode="auto">
          <a:xfrm>
            <a:off x="8085678" y="2908303"/>
            <a:ext cx="141356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4C4C4C"/>
                </a:solidFill>
              </a:rPr>
              <a:t>EVO</a:t>
            </a:r>
          </a:p>
        </p:txBody>
      </p:sp>
      <p:pic>
        <p:nvPicPr>
          <p:cNvPr id="20" name="Picture 19" descr="cascadia-performance_WxH_Normal.jp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74662" y="4808541"/>
            <a:ext cx="2147858" cy="903287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72" descr="new-volvo-fh16-on-the-road-2.jp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732287" y="960439"/>
            <a:ext cx="2209225" cy="1055687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 descr="truck1.pn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419375" y="3608388"/>
            <a:ext cx="2016657" cy="1198562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 descr="truck3.png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5743139" y="1785938"/>
            <a:ext cx="3059903" cy="1401762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truck5.png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9511941" y="1654175"/>
            <a:ext cx="2581661" cy="1485900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9" name="Straight Connector 68"/>
          <p:cNvCxnSpPr>
            <a:cxnSpLocks noChangeShapeType="1"/>
          </p:cNvCxnSpPr>
          <p:nvPr/>
        </p:nvCxnSpPr>
        <p:spPr bwMode="auto">
          <a:xfrm>
            <a:off x="8894034" y="5911654"/>
            <a:ext cx="0" cy="274638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/>
        </p:spPr>
      </p:cxnSp>
      <p:cxnSp>
        <p:nvCxnSpPr>
          <p:cNvPr id="70" name="Straight Connector 69"/>
          <p:cNvCxnSpPr>
            <a:cxnSpLocks noChangeShapeType="1"/>
          </p:cNvCxnSpPr>
          <p:nvPr/>
        </p:nvCxnSpPr>
        <p:spPr bwMode="auto">
          <a:xfrm>
            <a:off x="1635758" y="5978859"/>
            <a:ext cx="0" cy="27463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/>
        </p:spPr>
      </p:cxnSp>
      <p:cxnSp>
        <p:nvCxnSpPr>
          <p:cNvPr id="71" name="Straight Connector 70"/>
          <p:cNvCxnSpPr>
            <a:cxnSpLocks noChangeShapeType="1"/>
          </p:cNvCxnSpPr>
          <p:nvPr/>
        </p:nvCxnSpPr>
        <p:spPr bwMode="auto">
          <a:xfrm>
            <a:off x="4594119" y="5963316"/>
            <a:ext cx="0" cy="27463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/>
        </p:spPr>
      </p:cxnSp>
      <p:sp>
        <p:nvSpPr>
          <p:cNvPr id="61" name="Oval 60"/>
          <p:cNvSpPr>
            <a:spLocks noChangeArrowheads="1"/>
          </p:cNvSpPr>
          <p:nvPr/>
        </p:nvSpPr>
        <p:spPr bwMode="auto">
          <a:xfrm>
            <a:off x="4416334" y="3233738"/>
            <a:ext cx="264514" cy="196850"/>
          </a:xfrm>
          <a:prstGeom prst="ellipse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ea typeface="ＭＳ Ｐゴシック" charset="0"/>
              <a:cs typeface="ＭＳ Ｐゴシック"/>
            </a:endParaRPr>
          </a:p>
        </p:txBody>
      </p:sp>
      <p:sp>
        <p:nvSpPr>
          <p:cNvPr id="62" name="Oval 61"/>
          <p:cNvSpPr>
            <a:spLocks noChangeArrowheads="1"/>
          </p:cNvSpPr>
          <p:nvPr/>
        </p:nvSpPr>
        <p:spPr bwMode="auto">
          <a:xfrm>
            <a:off x="5280766" y="3248025"/>
            <a:ext cx="264514" cy="196850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ea typeface="ＭＳ Ｐゴシック" charset="0"/>
              <a:cs typeface="ＭＳ Ｐゴシック"/>
            </a:endParaRPr>
          </a:p>
        </p:txBody>
      </p:sp>
      <p:sp>
        <p:nvSpPr>
          <p:cNvPr id="65" name="Oval 64"/>
          <p:cNvSpPr>
            <a:spLocks noChangeArrowheads="1"/>
          </p:cNvSpPr>
          <p:nvPr/>
        </p:nvSpPr>
        <p:spPr bwMode="auto">
          <a:xfrm>
            <a:off x="6145409" y="3248025"/>
            <a:ext cx="264514" cy="19685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ea typeface="ＭＳ Ｐゴシック" charset="0"/>
              <a:cs typeface="ＭＳ Ｐゴシック"/>
            </a:endParaRPr>
          </a:p>
        </p:txBody>
      </p:sp>
      <p:sp>
        <p:nvSpPr>
          <p:cNvPr id="66" name="Oval 65"/>
          <p:cNvSpPr>
            <a:spLocks noChangeArrowheads="1"/>
          </p:cNvSpPr>
          <p:nvPr/>
        </p:nvSpPr>
        <p:spPr bwMode="auto">
          <a:xfrm>
            <a:off x="6980006" y="3248025"/>
            <a:ext cx="264514" cy="196850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ea typeface="ＭＳ Ｐゴシック" charset="0"/>
              <a:cs typeface="ＭＳ Ｐゴシック"/>
            </a:endParaRPr>
          </a:p>
        </p:txBody>
      </p:sp>
      <p:sp>
        <p:nvSpPr>
          <p:cNvPr id="67" name="Oval 66"/>
          <p:cNvSpPr>
            <a:spLocks noChangeArrowheads="1"/>
          </p:cNvSpPr>
          <p:nvPr/>
        </p:nvSpPr>
        <p:spPr bwMode="auto">
          <a:xfrm>
            <a:off x="7819258" y="3248343"/>
            <a:ext cx="264514" cy="196850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ea typeface="ＭＳ Ｐゴシック" charset="0"/>
              <a:cs typeface="ＭＳ Ｐゴシック"/>
            </a:endParaRPr>
          </a:p>
        </p:txBody>
      </p:sp>
      <p:sp>
        <p:nvSpPr>
          <p:cNvPr id="74" name="Oval 73"/>
          <p:cNvSpPr>
            <a:spLocks noChangeArrowheads="1"/>
          </p:cNvSpPr>
          <p:nvPr/>
        </p:nvSpPr>
        <p:spPr bwMode="auto">
          <a:xfrm>
            <a:off x="8681366" y="3238500"/>
            <a:ext cx="264514" cy="196850"/>
          </a:xfrm>
          <a:prstGeom prst="ellipse">
            <a:avLst/>
          </a:prstGeom>
          <a:solidFill>
            <a:srgbClr val="92D050"/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ea typeface="ＭＳ Ｐゴシック" charset="0"/>
              <a:cs typeface="ＭＳ Ｐゴシック"/>
            </a:endParaRPr>
          </a:p>
        </p:txBody>
      </p:sp>
      <p:sp>
        <p:nvSpPr>
          <p:cNvPr id="75" name="Oval 74"/>
          <p:cNvSpPr>
            <a:spLocks noChangeArrowheads="1"/>
          </p:cNvSpPr>
          <p:nvPr/>
        </p:nvSpPr>
        <p:spPr bwMode="auto">
          <a:xfrm>
            <a:off x="9507496" y="3254376"/>
            <a:ext cx="264514" cy="19685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ea typeface="ＭＳ Ｐゴシック" charset="0"/>
              <a:cs typeface="ＭＳ Ｐゴシック"/>
            </a:endParaRPr>
          </a:p>
        </p:txBody>
      </p:sp>
      <p:sp>
        <p:nvSpPr>
          <p:cNvPr id="77" name="Oval 76"/>
          <p:cNvSpPr>
            <a:spLocks noChangeArrowheads="1"/>
          </p:cNvSpPr>
          <p:nvPr/>
        </p:nvSpPr>
        <p:spPr bwMode="auto">
          <a:xfrm>
            <a:off x="1203187" y="3254376"/>
            <a:ext cx="264514" cy="196850"/>
          </a:xfrm>
          <a:prstGeom prst="ellipse">
            <a:avLst/>
          </a:prstGeom>
          <a:solidFill>
            <a:srgbClr val="FF3300"/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ea typeface="ＭＳ Ｐゴシック" charset="0"/>
              <a:cs typeface="ＭＳ Ｐゴシック"/>
            </a:endParaRPr>
          </a:p>
        </p:txBody>
      </p:sp>
      <p:sp>
        <p:nvSpPr>
          <p:cNvPr id="81" name="Oval 80"/>
          <p:cNvSpPr>
            <a:spLocks noChangeArrowheads="1"/>
          </p:cNvSpPr>
          <p:nvPr/>
        </p:nvSpPr>
        <p:spPr bwMode="auto">
          <a:xfrm>
            <a:off x="11121246" y="3238500"/>
            <a:ext cx="264514" cy="196850"/>
          </a:xfrm>
          <a:prstGeom prst="ellipse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ea typeface="ＭＳ Ｐゴシック" charset="0"/>
              <a:cs typeface="ＭＳ Ｐゴシック"/>
            </a:endParaRPr>
          </a:p>
        </p:txBody>
      </p:sp>
      <p:sp>
        <p:nvSpPr>
          <p:cNvPr id="82" name="Oval 81"/>
          <p:cNvSpPr>
            <a:spLocks noChangeArrowheads="1"/>
          </p:cNvSpPr>
          <p:nvPr/>
        </p:nvSpPr>
        <p:spPr bwMode="auto">
          <a:xfrm>
            <a:off x="1902389" y="3233738"/>
            <a:ext cx="264514" cy="196850"/>
          </a:xfrm>
          <a:prstGeom prst="ellipse">
            <a:avLst/>
          </a:prstGeom>
          <a:solidFill>
            <a:srgbClr val="FF6600"/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ea typeface="ＭＳ Ｐゴシック" charset="0"/>
              <a:cs typeface="ＭＳ Ｐゴシック"/>
            </a:endParaRPr>
          </a:p>
        </p:txBody>
      </p:sp>
      <p:sp>
        <p:nvSpPr>
          <p:cNvPr id="83" name="Oval 82"/>
          <p:cNvSpPr>
            <a:spLocks noChangeArrowheads="1"/>
          </p:cNvSpPr>
          <p:nvPr/>
        </p:nvSpPr>
        <p:spPr bwMode="auto">
          <a:xfrm>
            <a:off x="2725557" y="3238088"/>
            <a:ext cx="264514" cy="196850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ea typeface="ＭＳ Ｐゴシック" charset="0"/>
              <a:cs typeface="ＭＳ Ｐゴシック"/>
            </a:endParaRPr>
          </a:p>
        </p:txBody>
      </p:sp>
      <p:sp>
        <p:nvSpPr>
          <p:cNvPr id="84" name="Oval 83"/>
          <p:cNvSpPr>
            <a:spLocks noChangeArrowheads="1"/>
          </p:cNvSpPr>
          <p:nvPr/>
        </p:nvSpPr>
        <p:spPr bwMode="auto">
          <a:xfrm>
            <a:off x="3637605" y="3238088"/>
            <a:ext cx="264514" cy="196850"/>
          </a:xfrm>
          <a:prstGeom prst="ellipse">
            <a:avLst/>
          </a:prstGeom>
          <a:solidFill>
            <a:srgbClr val="FFFF00"/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4C4C4C"/>
              </a:solidFill>
              <a:effectLst/>
              <a:uLnTx/>
              <a:uFillTx/>
              <a:ea typeface="ＭＳ Ｐゴシック" charset="0"/>
              <a:cs typeface="ＭＳ Ｐゴシック"/>
            </a:endParaRPr>
          </a:p>
        </p:txBody>
      </p:sp>
      <p:sp>
        <p:nvSpPr>
          <p:cNvPr id="86" name="Rectangle 85"/>
          <p:cNvSpPr>
            <a:spLocks noChangeArrowheads="1"/>
          </p:cNvSpPr>
          <p:nvPr/>
        </p:nvSpPr>
        <p:spPr bwMode="auto">
          <a:xfrm>
            <a:off x="5596492" y="5814023"/>
            <a:ext cx="1953175" cy="469900"/>
          </a:xfrm>
          <a:prstGeom prst="rect">
            <a:avLst/>
          </a:prstGeom>
          <a:noFill/>
          <a:ln>
            <a:noFill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en-US" sz="1600" b="1" dirty="0">
                <a:solidFill>
                  <a:srgbClr val="FFFFFF"/>
                </a:solidFill>
                <a:latin typeface="Arial" charset="0"/>
                <a:ea typeface="ＭＳ Ｐゴシック" charset="0"/>
              </a:rPr>
              <a:t> Heavy</a:t>
            </a:r>
          </a:p>
        </p:txBody>
      </p:sp>
      <p:sp>
        <p:nvSpPr>
          <p:cNvPr id="87" name="Rectangle 86"/>
          <p:cNvSpPr>
            <a:spLocks noChangeArrowheads="1"/>
          </p:cNvSpPr>
          <p:nvPr/>
        </p:nvSpPr>
        <p:spPr bwMode="auto">
          <a:xfrm>
            <a:off x="2008195" y="5835650"/>
            <a:ext cx="1953175" cy="469900"/>
          </a:xfrm>
          <a:prstGeom prst="rect">
            <a:avLst/>
          </a:prstGeom>
          <a:noFill/>
          <a:ln>
            <a:noFill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en-US" sz="1600" b="1" dirty="0">
                <a:solidFill>
                  <a:srgbClr val="FFFFFF"/>
                </a:solidFill>
                <a:latin typeface="Arial" charset="0"/>
                <a:ea typeface="ＭＳ Ｐゴシック" charset="0"/>
              </a:rPr>
              <a:t>Medium</a:t>
            </a:r>
          </a:p>
        </p:txBody>
      </p:sp>
      <p:sp>
        <p:nvSpPr>
          <p:cNvPr id="88" name="Rectangle 87"/>
          <p:cNvSpPr>
            <a:spLocks noChangeArrowheads="1"/>
          </p:cNvSpPr>
          <p:nvPr/>
        </p:nvSpPr>
        <p:spPr bwMode="auto">
          <a:xfrm>
            <a:off x="-101571" y="5835650"/>
            <a:ext cx="1953175" cy="469900"/>
          </a:xfrm>
          <a:prstGeom prst="rect">
            <a:avLst/>
          </a:prstGeom>
          <a:noFill/>
          <a:ln>
            <a:noFill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en-US" sz="1600" b="1" dirty="0">
                <a:solidFill>
                  <a:srgbClr val="FFFFFF"/>
                </a:solidFill>
                <a:latin typeface="Arial" charset="0"/>
                <a:ea typeface="ＭＳ Ｐゴシック" charset="0"/>
              </a:rPr>
              <a:t>Light</a:t>
            </a:r>
          </a:p>
        </p:txBody>
      </p:sp>
      <p:sp>
        <p:nvSpPr>
          <p:cNvPr id="59" name="TextBox 55"/>
          <p:cNvSpPr txBox="1">
            <a:spLocks noChangeArrowheads="1"/>
          </p:cNvSpPr>
          <p:nvPr/>
        </p:nvSpPr>
        <p:spPr bwMode="auto">
          <a:xfrm>
            <a:off x="177755" y="3310852"/>
            <a:ext cx="895116" cy="430887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 charset="0"/>
                <a:cs typeface="ＭＳ Ｐゴシック"/>
              </a:defRPr>
            </a:lvl1pPr>
          </a:lstStyle>
          <a:p>
            <a:r>
              <a:rPr lang="en-US" altLang="en-US" dirty="0"/>
              <a:t>Brake</a:t>
            </a:r>
          </a:p>
        </p:txBody>
      </p:sp>
      <p:sp>
        <p:nvSpPr>
          <p:cNvPr id="63" name="TextBox 55"/>
          <p:cNvSpPr txBox="1">
            <a:spLocks noChangeArrowheads="1"/>
          </p:cNvSpPr>
          <p:nvPr/>
        </p:nvSpPr>
        <p:spPr bwMode="auto">
          <a:xfrm>
            <a:off x="1851602" y="3409950"/>
            <a:ext cx="82316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4C4C4C"/>
                </a:solidFill>
              </a:rPr>
              <a:t>310</a:t>
            </a:r>
          </a:p>
        </p:txBody>
      </p:sp>
      <p:sp>
        <p:nvSpPr>
          <p:cNvPr id="64" name="TextBox 55"/>
          <p:cNvSpPr txBox="1">
            <a:spLocks noChangeArrowheads="1"/>
          </p:cNvSpPr>
          <p:nvPr/>
        </p:nvSpPr>
        <p:spPr bwMode="auto">
          <a:xfrm>
            <a:off x="3351929" y="3409950"/>
            <a:ext cx="82316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4C4C4C"/>
                </a:solidFill>
              </a:rPr>
              <a:t>360</a:t>
            </a:r>
          </a:p>
        </p:txBody>
      </p:sp>
      <p:sp>
        <p:nvSpPr>
          <p:cNvPr id="68" name="TextBox 55"/>
          <p:cNvSpPr txBox="1">
            <a:spLocks noChangeArrowheads="1"/>
          </p:cNvSpPr>
          <p:nvPr/>
        </p:nvSpPr>
        <p:spPr bwMode="auto">
          <a:xfrm>
            <a:off x="4773957" y="3438528"/>
            <a:ext cx="82316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4C4C4C"/>
                </a:solidFill>
              </a:rPr>
              <a:t>394</a:t>
            </a:r>
          </a:p>
        </p:txBody>
      </p:sp>
      <p:sp>
        <p:nvSpPr>
          <p:cNvPr id="72" name="TextBox 55"/>
          <p:cNvSpPr txBox="1">
            <a:spLocks noChangeArrowheads="1"/>
          </p:cNvSpPr>
          <p:nvPr/>
        </p:nvSpPr>
        <p:spPr bwMode="auto">
          <a:xfrm>
            <a:off x="6794848" y="3421062"/>
            <a:ext cx="215103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4C4C4C"/>
                </a:solidFill>
              </a:rPr>
              <a:t>410 / 22.5 ADB</a:t>
            </a:r>
          </a:p>
        </p:txBody>
      </p:sp>
      <p:sp>
        <p:nvSpPr>
          <p:cNvPr id="89" name="TextBox 55"/>
          <p:cNvSpPr txBox="1">
            <a:spLocks noChangeArrowheads="1"/>
          </p:cNvSpPr>
          <p:nvPr/>
        </p:nvSpPr>
        <p:spPr bwMode="auto">
          <a:xfrm>
            <a:off x="10282208" y="3421062"/>
            <a:ext cx="109403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90000"/>
              <a:buFont typeface="Lucida Grande" pitchFamily="-84" charset="0"/>
              <a:buChar char="»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•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Lucida Grande" pitchFamily="-84" charset="0"/>
              <a:buChar char="-"/>
              <a:defRPr>
                <a:solidFill>
                  <a:srgbClr val="4D4D4D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4C4C4C"/>
                </a:solidFill>
              </a:rPr>
              <a:t>410G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7438BC9-C8CF-424B-87E7-F2A84B0B60D2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5398" y="2006448"/>
            <a:ext cx="1737414" cy="79902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541AC49-117E-4109-ABF7-B73DF4F147D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504144" y="1313215"/>
            <a:ext cx="1542268" cy="761954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B7A8CCD1-6955-4D53-AD29-2E4BAD412C35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9836" b="93260" l="9924" r="89968">
                        <a14:foregroundMark x1="23085" y1="83242" x2="23085" y2="83242"/>
                        <a14:foregroundMark x1="20388" y1="85428" x2="20388" y2="85428"/>
                        <a14:foregroundMark x1="25027" y1="87796" x2="25027" y2="87796"/>
                        <a14:foregroundMark x1="37648" y1="81056" x2="37648" y2="81056"/>
                        <a14:foregroundMark x1="50809" y1="85610" x2="50809" y2="85610"/>
                        <a14:foregroundMark x1="55340" y1="87796" x2="55340" y2="87796"/>
                        <a14:foregroundMark x1="51133" y1="87067" x2="51133" y2="87067"/>
                        <a14:foregroundMark x1="49946" y1="89982" x2="49946" y2="89982"/>
                        <a14:foregroundMark x1="49946" y1="93260" x2="49946" y2="93260"/>
                        <a14:foregroundMark x1="53506" y1="11658" x2="53506" y2="11658"/>
                        <a14:foregroundMark x1="64725" y1="11293" x2="64725" y2="11293"/>
                        <a14:foregroundMark x1="59223" y1="10747" x2="59223" y2="10747"/>
                        <a14:foregroundMark x1="57929" y1="9654" x2="57929" y2="9654"/>
                        <a14:foregroundMark x1="61165" y1="9654" x2="61165" y2="9654"/>
                        <a14:foregroundMark x1="62783" y1="11111" x2="62783" y2="11111"/>
                        <a14:foregroundMark x1="70658" y1="16576" x2="70658" y2="16576"/>
                        <a14:foregroundMark x1="54800" y1="78871" x2="54800" y2="78871"/>
                        <a14:foregroundMark x1="75836" y1="81603" x2="75836" y2="81603"/>
                        <a14:foregroundMark x1="30205" y1="62113" x2="30205" y2="62113"/>
                        <a14:foregroundMark x1="28803" y1="62477" x2="28803" y2="62477"/>
                        <a14:foregroundMark x1="25674" y1="64299" x2="25674" y2="64299"/>
                        <a14:foregroundMark x1="22330" y1="67577" x2="22330" y2="67577"/>
                        <a14:foregroundMark x1="20388" y1="68670" x2="20388" y2="68670"/>
                        <a14:foregroundMark x1="24919" y1="64663" x2="24919" y2="64663"/>
                        <a14:foregroundMark x1="21467" y1="67395" x2="21467" y2="67395"/>
                        <a14:foregroundMark x1="24380" y1="65938" x2="24380" y2="65938"/>
                        <a14:foregroundMark x1="27508" y1="64845" x2="27508" y2="64845"/>
                        <a14:foregroundMark x1="20388" y1="64117" x2="20388" y2="64117"/>
                        <a14:foregroundMark x1="18231" y1="66485" x2="18231" y2="66485"/>
                        <a14:foregroundMark x1="18123" y1="65392" x2="18123" y2="65392"/>
                        <a14:foregroundMark x1="19525" y1="70856" x2="19525" y2="70856"/>
                        <a14:foregroundMark x1="20712" y1="72860" x2="20712" y2="72860"/>
                        <a14:foregroundMark x1="82524" y1="85610" x2="82524" y2="85610"/>
                        <a14:foregroundMark x1="50084" y1="17094" x2="50084" y2="17094"/>
                        <a14:foregroundMark x1="47218" y1="19088" x2="47218" y2="19088"/>
                        <a14:foregroundMark x1="81450" y1="50142" x2="81450" y2="5014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1382" y="4538397"/>
            <a:ext cx="2151030" cy="1273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8582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E41F509C-7A18-4966-9E27-552E7172D3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993928"/>
              </p:ext>
            </p:extLst>
          </p:nvPr>
        </p:nvGraphicFramePr>
        <p:xfrm>
          <a:off x="5942012" y="4782404"/>
          <a:ext cx="6096000" cy="1619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4C3A8650-5BBA-4C88-9B86-F6B01B24B5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85781965"/>
              </p:ext>
            </p:extLst>
          </p:nvPr>
        </p:nvGraphicFramePr>
        <p:xfrm>
          <a:off x="6094412" y="3127972"/>
          <a:ext cx="5791199" cy="1619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CE83E8C1-D91D-43BD-BC44-219682C1B5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4983483"/>
              </p:ext>
            </p:extLst>
          </p:nvPr>
        </p:nvGraphicFramePr>
        <p:xfrm>
          <a:off x="6094412" y="1497510"/>
          <a:ext cx="5791199" cy="1619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ncial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0CAE4C0-2026-449F-A198-F3963E8093C2}"/>
              </a:ext>
            </a:extLst>
          </p:cNvPr>
          <p:cNvSpPr txBox="1"/>
          <p:nvPr/>
        </p:nvSpPr>
        <p:spPr>
          <a:xfrm>
            <a:off x="10042072" y="575846"/>
            <a:ext cx="17643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/>
              <a:t>Values in INR </a:t>
            </a:r>
            <a:r>
              <a:rPr lang="en-IN" sz="1600" dirty="0" err="1"/>
              <a:t>Mn</a:t>
            </a:r>
            <a:endParaRPr lang="en-IN" sz="1600" dirty="0"/>
          </a:p>
        </p:txBody>
      </p:sp>
      <p:sp>
        <p:nvSpPr>
          <p:cNvPr id="6" name="TextBox 5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684213" y="1040213"/>
            <a:ext cx="250068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/>
            </a:lvl1pPr>
            <a:lvl2pPr marL="197586" lvl="1" indent="-195966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/>
            </a:lvl2pPr>
            <a:lvl3pPr marL="466431" lvl="2" indent="-267227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26768" lvl="3" indent="-158716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/>
            </a:lvl4pPr>
            <a:lvl5pPr marL="764947" lvl="4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>
              <a:buClr>
                <a:srgbClr val="000000"/>
              </a:buClr>
            </a:pPr>
            <a:r>
              <a:rPr lang="en-US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arterly Performance</a:t>
            </a:r>
            <a:endParaRPr lang="en-US" sz="1800" b="1" dirty="0">
              <a:solidFill>
                <a:schemeClr val="accent2"/>
              </a:solidFill>
            </a:endParaRPr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831411735"/>
              </p:ext>
            </p:extLst>
          </p:nvPr>
        </p:nvGraphicFramePr>
        <p:xfrm>
          <a:off x="488117" y="1411976"/>
          <a:ext cx="5453895" cy="1619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Rectangle 8"/>
          <p:cNvSpPr/>
          <p:nvPr/>
        </p:nvSpPr>
        <p:spPr>
          <a:xfrm>
            <a:off x="684213" y="1359274"/>
            <a:ext cx="7873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ales</a:t>
            </a:r>
            <a:endParaRPr lang="en-US" sz="1800" dirty="0"/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1431122414"/>
              </p:ext>
            </p:extLst>
          </p:nvPr>
        </p:nvGraphicFramePr>
        <p:xfrm>
          <a:off x="379413" y="3048899"/>
          <a:ext cx="5448300" cy="1619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706239363"/>
              </p:ext>
            </p:extLst>
          </p:nvPr>
        </p:nvGraphicFramePr>
        <p:xfrm>
          <a:off x="488117" y="4703331"/>
          <a:ext cx="5339595" cy="1619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2" name="Rectangle 11"/>
          <p:cNvSpPr/>
          <p:nvPr/>
        </p:nvSpPr>
        <p:spPr>
          <a:xfrm>
            <a:off x="673021" y="3052683"/>
            <a:ext cx="93083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BIDTA</a:t>
            </a:r>
            <a:endParaRPr lang="en-US" sz="1600" dirty="0"/>
          </a:p>
        </p:txBody>
      </p:sp>
      <p:sp>
        <p:nvSpPr>
          <p:cNvPr id="13" name="Rectangle 12"/>
          <p:cNvSpPr/>
          <p:nvPr/>
        </p:nvSpPr>
        <p:spPr>
          <a:xfrm>
            <a:off x="684213" y="4800600"/>
            <a:ext cx="64144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BT</a:t>
            </a:r>
            <a:endParaRPr lang="en-US" sz="1600" dirty="0"/>
          </a:p>
        </p:txBody>
      </p:sp>
      <p:grpSp>
        <p:nvGrpSpPr>
          <p:cNvPr id="23" name="Group 75"/>
          <p:cNvGrpSpPr>
            <a:grpSpLocks/>
          </p:cNvGrpSpPr>
          <p:nvPr/>
        </p:nvGrpSpPr>
        <p:grpSpPr bwMode="auto">
          <a:xfrm>
            <a:off x="3127168" y="1471020"/>
            <a:ext cx="555625" cy="276999"/>
            <a:chOff x="1043683" y="4007862"/>
            <a:chExt cx="326597" cy="426342"/>
          </a:xfrm>
        </p:grpSpPr>
        <p:cxnSp>
          <p:nvCxnSpPr>
            <p:cNvPr id="24" name="Straight Arrow Connector 23"/>
            <p:cNvCxnSpPr/>
            <p:nvPr/>
          </p:nvCxnSpPr>
          <p:spPr>
            <a:xfrm flipV="1">
              <a:off x="1321538" y="4060992"/>
              <a:ext cx="0" cy="320086"/>
            </a:xfrm>
            <a:prstGeom prst="straightConnector1">
              <a:avLst/>
            </a:prstGeom>
            <a:ln>
              <a:solidFill>
                <a:srgbClr val="00B05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77"/>
            <p:cNvSpPr txBox="1">
              <a:spLocks noChangeArrowheads="1"/>
            </p:cNvSpPr>
            <p:nvPr/>
          </p:nvSpPr>
          <p:spPr bwMode="auto">
            <a:xfrm>
              <a:off x="1043683" y="4007862"/>
              <a:ext cx="326597" cy="4263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Font typeface="Lucida Grande"/>
                <a:buChar char="-"/>
                <a:defRPr sz="22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90000"/>
                <a:buFont typeface="Lucida Grande"/>
                <a:buChar char="»"/>
                <a:defRPr sz="20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Lucida Grande"/>
                <a:buChar char="-"/>
                <a:defRPr sz="16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Lucida Grande"/>
                <a:buChar char="-"/>
                <a:defRPr sz="16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Lucida Grande"/>
                <a:buChar char="-"/>
                <a:defRPr sz="16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Lucida Grande"/>
                <a:buChar char="-"/>
                <a:defRPr sz="16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Lucida Grande"/>
                <a:buChar char="-"/>
                <a:defRPr sz="16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200" b="1" dirty="0">
                  <a:solidFill>
                    <a:srgbClr val="007033"/>
                  </a:solidFill>
                </a:rPr>
                <a:t>19%</a:t>
              </a: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2B4572CF-6CD8-4EC3-BCEB-9971E3324DE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6856412" y="1013056"/>
            <a:ext cx="193642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/>
            </a:lvl1pPr>
            <a:lvl2pPr marL="197586" lvl="1" indent="-195966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/>
            </a:lvl2pPr>
            <a:lvl3pPr marL="466431" lvl="2" indent="-267227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26768" lvl="3" indent="-158716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/>
            </a:lvl4pPr>
            <a:lvl5pPr marL="764947" lvl="4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>
              <a:buClr>
                <a:srgbClr val="000000"/>
              </a:buClr>
            </a:pPr>
            <a:r>
              <a:rPr lang="en-US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YTD Performance</a:t>
            </a:r>
            <a:endParaRPr lang="en-US" sz="1800" b="1" dirty="0">
              <a:solidFill>
                <a:schemeClr val="accent2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52F7C57-4F85-4CE6-9B7A-46BDF900A9E1}"/>
              </a:ext>
            </a:extLst>
          </p:cNvPr>
          <p:cNvSpPr>
            <a:spLocks/>
          </p:cNvSpPr>
          <p:nvPr/>
        </p:nvSpPr>
        <p:spPr>
          <a:xfrm flipV="1">
            <a:off x="673021" y="1295399"/>
            <a:ext cx="5268991" cy="4571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57150">
            <a:noFill/>
            <a:miter lim="800000"/>
            <a:headEnd/>
            <a:tailEnd/>
          </a:ln>
          <a:effectLst/>
        </p:spPr>
        <p:txBody>
          <a:bodyPr vert="horz" wrap="square" lIns="365760" tIns="72009" rIns="72009" bIns="72009" numCol="1" anchor="t" anchorCtr="0" compatLnSpc="1">
            <a:prstTxWarp prst="textNoShape">
              <a:avLst/>
            </a:prstTxWarp>
            <a:noAutofit/>
          </a:bodyPr>
          <a:lstStyle/>
          <a:p>
            <a:pPr defTabSz="457200" eaLnBrk="0" hangingPunct="0">
              <a:spcBef>
                <a:spcPct val="20000"/>
              </a:spcBef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v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6D3AE06-F861-404D-A26D-965F4AE48ED7}"/>
              </a:ext>
            </a:extLst>
          </p:cNvPr>
          <p:cNvSpPr>
            <a:spLocks/>
          </p:cNvSpPr>
          <p:nvPr/>
        </p:nvSpPr>
        <p:spPr>
          <a:xfrm>
            <a:off x="6856412" y="1290055"/>
            <a:ext cx="4581158" cy="4571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57150">
            <a:noFill/>
            <a:miter lim="800000"/>
            <a:headEnd/>
            <a:tailEnd/>
          </a:ln>
          <a:effectLst/>
        </p:spPr>
        <p:txBody>
          <a:bodyPr vert="horz" wrap="square" lIns="365760" tIns="72009" rIns="72009" bIns="72009" numCol="1" anchor="t" anchorCtr="0" compatLnSpc="1">
            <a:prstTxWarp prst="textNoShape">
              <a:avLst/>
            </a:prstTxWarp>
            <a:noAutofit/>
          </a:bodyPr>
          <a:lstStyle/>
          <a:p>
            <a:pPr defTabSz="457200" eaLnBrk="0" hangingPunct="0">
              <a:spcBef>
                <a:spcPct val="20000"/>
              </a:spcBef>
              <a:defRPr/>
            </a:pP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427AD27-151F-4A5D-8BF4-0F43573CEC68}"/>
              </a:ext>
            </a:extLst>
          </p:cNvPr>
          <p:cNvSpPr/>
          <p:nvPr/>
        </p:nvSpPr>
        <p:spPr>
          <a:xfrm>
            <a:off x="6856412" y="1438347"/>
            <a:ext cx="89331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ales</a:t>
            </a:r>
            <a:endParaRPr lang="en-US" sz="1800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B8072B1-5258-4D7A-BA0E-B3D84697DBFC}"/>
              </a:ext>
            </a:extLst>
          </p:cNvPr>
          <p:cNvSpPr/>
          <p:nvPr/>
        </p:nvSpPr>
        <p:spPr>
          <a:xfrm>
            <a:off x="6856412" y="3271151"/>
            <a:ext cx="96503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BIDTA</a:t>
            </a:r>
            <a:endParaRPr lang="en-US" sz="16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BBB7F5D-354E-4DCC-8C8B-EE3F32013556}"/>
              </a:ext>
            </a:extLst>
          </p:cNvPr>
          <p:cNvSpPr/>
          <p:nvPr/>
        </p:nvSpPr>
        <p:spPr>
          <a:xfrm>
            <a:off x="6856412" y="4879673"/>
            <a:ext cx="79633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BT</a:t>
            </a:r>
            <a:endParaRPr lang="en-US" sz="1600" dirty="0"/>
          </a:p>
        </p:txBody>
      </p:sp>
      <p:grpSp>
        <p:nvGrpSpPr>
          <p:cNvPr id="49" name="Group 75">
            <a:extLst>
              <a:ext uri="{FF2B5EF4-FFF2-40B4-BE49-F238E27FC236}">
                <a16:creationId xmlns:a16="http://schemas.microsoft.com/office/drawing/2014/main" id="{729EBC21-8205-48ED-A978-8C93103AD10E}"/>
              </a:ext>
            </a:extLst>
          </p:cNvPr>
          <p:cNvGrpSpPr>
            <a:grpSpLocks/>
          </p:cNvGrpSpPr>
          <p:nvPr/>
        </p:nvGrpSpPr>
        <p:grpSpPr bwMode="auto">
          <a:xfrm>
            <a:off x="9316220" y="1573315"/>
            <a:ext cx="555625" cy="276999"/>
            <a:chOff x="1054421" y="4006483"/>
            <a:chExt cx="326597" cy="426343"/>
          </a:xfrm>
        </p:grpSpPr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9C5E4249-A6E2-401E-A7E9-9C30FDBD99FB}"/>
                </a:ext>
              </a:extLst>
            </p:cNvPr>
            <p:cNvCxnSpPr/>
            <p:nvPr/>
          </p:nvCxnSpPr>
          <p:spPr>
            <a:xfrm flipV="1">
              <a:off x="1321538" y="4060992"/>
              <a:ext cx="0" cy="320086"/>
            </a:xfrm>
            <a:prstGeom prst="straightConnector1">
              <a:avLst/>
            </a:prstGeom>
            <a:ln>
              <a:solidFill>
                <a:srgbClr val="00B05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77">
              <a:extLst>
                <a:ext uri="{FF2B5EF4-FFF2-40B4-BE49-F238E27FC236}">
                  <a16:creationId xmlns:a16="http://schemas.microsoft.com/office/drawing/2014/main" id="{8780D4DA-CBA9-40CB-9D10-9FBAA1BA27C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54421" y="4006483"/>
              <a:ext cx="326597" cy="426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Font typeface="Lucida Grande"/>
                <a:buChar char="-"/>
                <a:defRPr sz="22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90000"/>
                <a:buFont typeface="Lucida Grande"/>
                <a:buChar char="»"/>
                <a:defRPr sz="20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Lucida Grande"/>
                <a:buChar char="-"/>
                <a:defRPr sz="16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Lucida Grande"/>
                <a:buChar char="-"/>
                <a:defRPr sz="16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Lucida Grande"/>
                <a:buChar char="-"/>
                <a:defRPr sz="16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Lucida Grande"/>
                <a:buChar char="-"/>
                <a:defRPr sz="16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Lucida Grande"/>
                <a:buChar char="-"/>
                <a:defRPr sz="16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200" b="1" dirty="0">
                  <a:solidFill>
                    <a:srgbClr val="007033"/>
                  </a:solidFill>
                </a:rPr>
                <a:t>34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592466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4C3A8650-5BBA-4C88-9B86-F6B01B24B5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69693465"/>
              </p:ext>
            </p:extLst>
          </p:nvPr>
        </p:nvGraphicFramePr>
        <p:xfrm>
          <a:off x="608012" y="3127972"/>
          <a:ext cx="5486401" cy="1619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CE83E8C1-D91D-43BD-BC44-219682C1B5A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6136307"/>
              </p:ext>
            </p:extLst>
          </p:nvPr>
        </p:nvGraphicFramePr>
        <p:xfrm>
          <a:off x="608013" y="1508969"/>
          <a:ext cx="5486400" cy="14628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BFD8C94-93E4-459B-B988-0363C8A609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2019 Outlook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01ACE8-2B40-4F8E-8640-AAF6835F63A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598854" y="1119286"/>
            <a:ext cx="189385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/>
            </a:lvl1pPr>
            <a:lvl2pPr marL="197586" lvl="1" indent="-195966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/>
            </a:lvl2pPr>
            <a:lvl3pPr marL="466431" lvl="2" indent="-267227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26768" lvl="3" indent="-158716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/>
            </a:lvl4pPr>
            <a:lvl5pPr marL="764947" lvl="4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>
              <a:buClr>
                <a:srgbClr val="000000"/>
              </a:buClr>
            </a:pPr>
            <a:r>
              <a:rPr lang="en-US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ull Year Outlook</a:t>
            </a:r>
            <a:endParaRPr lang="en-US" sz="1800" b="1" dirty="0">
              <a:solidFill>
                <a:schemeClr val="accent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6D3AE06-F861-404D-A26D-965F4AE48ED7}"/>
              </a:ext>
            </a:extLst>
          </p:cNvPr>
          <p:cNvSpPr>
            <a:spLocks/>
          </p:cNvSpPr>
          <p:nvPr/>
        </p:nvSpPr>
        <p:spPr>
          <a:xfrm>
            <a:off x="598854" y="1417722"/>
            <a:ext cx="4581158" cy="4571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57150">
            <a:noFill/>
            <a:miter lim="800000"/>
            <a:headEnd/>
            <a:tailEnd/>
          </a:ln>
          <a:effectLst/>
        </p:spPr>
        <p:txBody>
          <a:bodyPr vert="horz" wrap="square" lIns="365760" tIns="72009" rIns="72009" bIns="72009" numCol="1" anchor="t" anchorCtr="0" compatLnSpc="1">
            <a:prstTxWarp prst="textNoShape">
              <a:avLst/>
            </a:prstTxWarp>
            <a:noAutofit/>
          </a:bodyPr>
          <a:lstStyle/>
          <a:p>
            <a:pPr defTabSz="457200" eaLnBrk="0" hangingPunct="0">
              <a:spcBef>
                <a:spcPct val="20000"/>
              </a:spcBef>
              <a:defRPr/>
            </a:pP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427AD27-151F-4A5D-8BF4-0F43573CEC68}"/>
              </a:ext>
            </a:extLst>
          </p:cNvPr>
          <p:cNvSpPr/>
          <p:nvPr/>
        </p:nvSpPr>
        <p:spPr>
          <a:xfrm>
            <a:off x="758385" y="1508969"/>
            <a:ext cx="7873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ales</a:t>
            </a:r>
            <a:endParaRPr lang="en-US" sz="18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8072B1-5258-4D7A-BA0E-B3D84697DBFC}"/>
              </a:ext>
            </a:extLst>
          </p:cNvPr>
          <p:cNvSpPr/>
          <p:nvPr/>
        </p:nvSpPr>
        <p:spPr>
          <a:xfrm>
            <a:off x="758384" y="3141573"/>
            <a:ext cx="106882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BIDTA</a:t>
            </a:r>
            <a:endParaRPr lang="en-US" sz="16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BBB7F5D-354E-4DCC-8C8B-EE3F32013556}"/>
              </a:ext>
            </a:extLst>
          </p:cNvPr>
          <p:cNvSpPr/>
          <p:nvPr/>
        </p:nvSpPr>
        <p:spPr>
          <a:xfrm>
            <a:off x="758384" y="4878736"/>
            <a:ext cx="61162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BT</a:t>
            </a:r>
            <a:endParaRPr lang="en-US" sz="1600" dirty="0"/>
          </a:p>
        </p:txBody>
      </p:sp>
      <p:grpSp>
        <p:nvGrpSpPr>
          <p:cNvPr id="15" name="Group 75">
            <a:extLst>
              <a:ext uri="{FF2B5EF4-FFF2-40B4-BE49-F238E27FC236}">
                <a16:creationId xmlns:a16="http://schemas.microsoft.com/office/drawing/2014/main" id="{241C24BB-8ED8-4E0F-AC79-6DB80498074B}"/>
              </a:ext>
            </a:extLst>
          </p:cNvPr>
          <p:cNvGrpSpPr>
            <a:grpSpLocks/>
          </p:cNvGrpSpPr>
          <p:nvPr/>
        </p:nvGrpSpPr>
        <p:grpSpPr bwMode="auto">
          <a:xfrm>
            <a:off x="2986692" y="1508969"/>
            <a:ext cx="631825" cy="646331"/>
            <a:chOff x="994941" y="3810983"/>
            <a:chExt cx="326597" cy="994801"/>
          </a:xfrm>
        </p:grpSpPr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B52F8F59-9C19-46C8-BE02-05F98BB0721E}"/>
                </a:ext>
              </a:extLst>
            </p:cNvPr>
            <p:cNvCxnSpPr/>
            <p:nvPr/>
          </p:nvCxnSpPr>
          <p:spPr>
            <a:xfrm flipV="1">
              <a:off x="1321538" y="4060992"/>
              <a:ext cx="0" cy="320086"/>
            </a:xfrm>
            <a:prstGeom prst="straightConnector1">
              <a:avLst/>
            </a:prstGeom>
            <a:ln>
              <a:solidFill>
                <a:srgbClr val="00B05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77">
              <a:extLst>
                <a:ext uri="{FF2B5EF4-FFF2-40B4-BE49-F238E27FC236}">
                  <a16:creationId xmlns:a16="http://schemas.microsoft.com/office/drawing/2014/main" id="{E71509EF-F288-4C1A-9053-CA854F76286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94941" y="3810983"/>
              <a:ext cx="326597" cy="994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4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Font typeface="Lucida Grande"/>
                <a:buChar char="-"/>
                <a:defRPr sz="22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SzPct val="90000"/>
                <a:buFont typeface="Lucida Grande"/>
                <a:buChar char="»"/>
                <a:defRPr sz="20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Lucida Grande"/>
                <a:buChar char="-"/>
                <a:defRPr sz="16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Lucida Grande"/>
                <a:buChar char="-"/>
                <a:defRPr sz="16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Lucida Grande"/>
                <a:buChar char="-"/>
                <a:defRPr sz="16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Lucida Grande"/>
                <a:buChar char="-"/>
                <a:defRPr sz="16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Lucida Grande"/>
                <a:buChar char="-"/>
                <a:defRPr sz="1600">
                  <a:solidFill>
                    <a:srgbClr val="4D4D4D"/>
                  </a:solidFill>
                  <a:latin typeface="Arial" pitchFamily="34" charset="0"/>
                  <a:ea typeface="ＭＳ Ｐゴシック" pitchFamily="34" charset="-128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200" b="1" dirty="0">
                  <a:solidFill>
                    <a:srgbClr val="007033"/>
                  </a:solidFill>
                </a:rPr>
                <a:t>22% to 25%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BE52AC0D-0119-4F9A-9A45-46C856957E77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6583118" y="1119285"/>
            <a:ext cx="161582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indent="0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/>
            </a:lvl1pPr>
            <a:lvl2pPr marL="197586" lvl="1" indent="-195966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/>
            </a:lvl2pPr>
            <a:lvl3pPr marL="466431" lvl="2" indent="-267227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/>
            </a:lvl3pPr>
            <a:lvl4pPr marL="626768" lvl="3" indent="-158716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/>
            </a:lvl4pPr>
            <a:lvl5pPr marL="764947" lvl="4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>
              <a:buClr>
                <a:srgbClr val="000000"/>
              </a:buClr>
            </a:pPr>
            <a:r>
              <a:rPr lang="en-US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Highlights</a:t>
            </a:r>
            <a:endParaRPr lang="en-US" sz="1800" b="1" dirty="0">
              <a:solidFill>
                <a:schemeClr val="accent2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0080AB7-9BD2-4E2F-9FC3-1F846024F072}"/>
              </a:ext>
            </a:extLst>
          </p:cNvPr>
          <p:cNvSpPr txBox="1"/>
          <p:nvPr/>
        </p:nvSpPr>
        <p:spPr>
          <a:xfrm>
            <a:off x="6399212" y="1447800"/>
            <a:ext cx="5191454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N" sz="1600" u="sng" dirty="0"/>
          </a:p>
          <a:p>
            <a:r>
              <a:rPr lang="en-IN" sz="1600" u="sng" dirty="0"/>
              <a:t>Revenue:</a:t>
            </a:r>
            <a:r>
              <a:rPr lang="en-IN" sz="16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22% to 25% growth YO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Capacity ramp up completion by March / April 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/>
          </a:p>
          <a:p>
            <a:r>
              <a:rPr lang="en-IN" sz="1600" u="sng" dirty="0"/>
              <a:t>EBITDA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Commodity price change exerting pressure on EBIDTA%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Continuous Strategic plans to improve Productivity and cost is on track to manage the challen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Continuous monitoring and control of fixed cost</a:t>
            </a:r>
          </a:p>
          <a:p>
            <a:endParaRPr lang="en-IN" sz="1600" u="sng" dirty="0"/>
          </a:p>
          <a:p>
            <a:r>
              <a:rPr lang="en-IN" sz="1600" u="sng" dirty="0"/>
              <a:t>CASH:</a:t>
            </a:r>
            <a:endParaRPr lang="en-IN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Improve Q4 cash fl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No working capital borrow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600" dirty="0"/>
          </a:p>
          <a:p>
            <a:endParaRPr lang="en-IN" sz="16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6D3AE06-F861-404D-A26D-965F4AE48ED7}"/>
              </a:ext>
            </a:extLst>
          </p:cNvPr>
          <p:cNvSpPr>
            <a:spLocks/>
          </p:cNvSpPr>
          <p:nvPr/>
        </p:nvSpPr>
        <p:spPr>
          <a:xfrm>
            <a:off x="6399212" y="1399073"/>
            <a:ext cx="4581158" cy="45719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57150">
            <a:noFill/>
            <a:miter lim="800000"/>
            <a:headEnd/>
            <a:tailEnd/>
          </a:ln>
          <a:effectLst/>
        </p:spPr>
        <p:txBody>
          <a:bodyPr vert="horz" wrap="square" lIns="365760" tIns="72009" rIns="72009" bIns="72009" numCol="1" anchor="t" anchorCtr="0" compatLnSpc="1">
            <a:prstTxWarp prst="textNoShape">
              <a:avLst/>
            </a:prstTxWarp>
            <a:noAutofit/>
          </a:bodyPr>
          <a:lstStyle/>
          <a:p>
            <a:pPr defTabSz="457200" eaLnBrk="0" hangingPunct="0">
              <a:spcBef>
                <a:spcPct val="20000"/>
              </a:spcBef>
              <a:defRPr/>
            </a:pP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0CAE4C0-2026-449F-A198-F3963E8093C2}"/>
              </a:ext>
            </a:extLst>
          </p:cNvPr>
          <p:cNvSpPr txBox="1"/>
          <p:nvPr/>
        </p:nvSpPr>
        <p:spPr>
          <a:xfrm>
            <a:off x="10042072" y="575846"/>
            <a:ext cx="17643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/>
              <a:t>Values in INR </a:t>
            </a:r>
            <a:r>
              <a:rPr lang="en-IN" sz="1600" dirty="0" err="1"/>
              <a:t>Mn</a:t>
            </a:r>
            <a:endParaRPr lang="en-IN" sz="1600" dirty="0"/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94A1D0D3-362C-40A3-993E-2FF9E5B5A0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765967"/>
              </p:ext>
            </p:extLst>
          </p:nvPr>
        </p:nvGraphicFramePr>
        <p:xfrm>
          <a:off x="379411" y="4878736"/>
          <a:ext cx="5486401" cy="1619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565912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Quarterly Performance Q1FY12 – Q3FY19 </a:t>
            </a:r>
            <a:endParaRPr lang="en-US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0000000-0008-0000-00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6347638"/>
              </p:ext>
            </p:extLst>
          </p:nvPr>
        </p:nvGraphicFramePr>
        <p:xfrm>
          <a:off x="684212" y="1066800"/>
          <a:ext cx="10820399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685353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50000"/>
              </a:lnSpc>
            </a:pPr>
            <a:r>
              <a:rPr lang="en-US" dirty="0"/>
              <a:t>Capacity Expansion </a:t>
            </a:r>
          </a:p>
          <a:p>
            <a:pPr>
              <a:lnSpc>
                <a:spcPct val="250000"/>
              </a:lnSpc>
            </a:pPr>
            <a:r>
              <a:rPr lang="en-US" dirty="0"/>
              <a:t>Business Wins</a:t>
            </a:r>
          </a:p>
          <a:p>
            <a:pPr>
              <a:lnSpc>
                <a:spcPct val="250000"/>
              </a:lnSpc>
            </a:pPr>
            <a:r>
              <a:rPr lang="en-US" dirty="0"/>
              <a:t>New product</a:t>
            </a:r>
          </a:p>
          <a:p>
            <a:pPr>
              <a:lnSpc>
                <a:spcPct val="250000"/>
              </a:lnSpc>
            </a:pPr>
            <a:r>
              <a:rPr lang="en-US" dirty="0"/>
              <a:t>Footprint Expansion</a:t>
            </a:r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Strategic Initiatives Update</a:t>
            </a:r>
          </a:p>
        </p:txBody>
      </p:sp>
    </p:spTree>
    <p:extLst>
      <p:ext uri="{BB962C8B-B14F-4D97-AF65-F5344CB8AC3E}">
        <p14:creationId xmlns:p14="http://schemas.microsoft.com/office/powerpoint/2010/main" val="13279220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F8E124-B805-4B32-B91A-C04D715FD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evenue Growth Trend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ABFEE64D-24F9-46C2-99B7-DFA61B8EA5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790408"/>
              </p:ext>
            </p:extLst>
          </p:nvPr>
        </p:nvGraphicFramePr>
        <p:xfrm>
          <a:off x="912812" y="1143001"/>
          <a:ext cx="10591799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73444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1_Meritor-RWTB-2016-Full-Color-Template">
  <a:themeElements>
    <a:clrScheme name="Meritor Colors 1">
      <a:dk1>
        <a:srgbClr val="000000"/>
      </a:dk1>
      <a:lt1>
        <a:sysClr val="window" lastClr="FFFFFF"/>
      </a:lt1>
      <a:dk2>
        <a:srgbClr val="404040"/>
      </a:dk2>
      <a:lt2>
        <a:srgbClr val="EAEAEA"/>
      </a:lt2>
      <a:accent1>
        <a:srgbClr val="074175"/>
      </a:accent1>
      <a:accent2>
        <a:srgbClr val="B2082A"/>
      </a:accent2>
      <a:accent3>
        <a:srgbClr val="53B938"/>
      </a:accent3>
      <a:accent4>
        <a:srgbClr val="6C276A"/>
      </a:accent4>
      <a:accent5>
        <a:srgbClr val="FDC439"/>
      </a:accent5>
      <a:accent6>
        <a:srgbClr val="76787B"/>
      </a:accent6>
      <a:hlink>
        <a:srgbClr val="B2082A"/>
      </a:hlink>
      <a:folHlink>
        <a:srgbClr val="7F002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B355B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2_Inside Pa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Inside Pag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Inside Pag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Inside Pag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Inside Pag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Inside Pag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Inside Pag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Inside Pag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Inside Pag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Inside Pag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Inside Pag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Inside Pag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StartDate xmlns="http://schemas.microsoft.com/sharepoint/v3" xsi:nil="true"/>
    <PublishingExpiration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3B0130A83ED346BCF0FCC654E0EFA2" ma:contentTypeVersion="1" ma:contentTypeDescription="Create a new document." ma:contentTypeScope="" ma:versionID="78d82035bcf6d3ffec1b3e2fe961f33b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8c5b5cd9b8d25ff6dd15848836f427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10B5FE-89CC-4040-AA2A-969E5E722E72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FE709B6-ECEE-4EB1-972B-42A2C54F5EF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A9AED6C-B0E1-4555-8999-1F5D79209B5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ritor India Business Report_July_18</Template>
  <TotalTime>7</TotalTime>
  <Words>294</Words>
  <Application>Microsoft Office PowerPoint</Application>
  <PresentationFormat>Custom</PresentationFormat>
  <Paragraphs>122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Helvetica</vt:lpstr>
      <vt:lpstr>Lucida Grande</vt:lpstr>
      <vt:lpstr>Wingdings</vt:lpstr>
      <vt:lpstr>1_Meritor-RWTB-2016-Full-Color-Template</vt:lpstr>
      <vt:lpstr>think-cell Slide</vt:lpstr>
      <vt:lpstr>Automotive Axles Limited </vt:lpstr>
      <vt:lpstr>Snapshot FY19</vt:lpstr>
      <vt:lpstr>Diverse End Markets and Major Customers</vt:lpstr>
      <vt:lpstr>Most Comprehensive Axle &amp; Brake Offerings</vt:lpstr>
      <vt:lpstr>Financials</vt:lpstr>
      <vt:lpstr>2019 Outlook</vt:lpstr>
      <vt:lpstr>Quarterly Performance Q1FY12 – Q3FY19 </vt:lpstr>
      <vt:lpstr>Key Strategic Initiatives Update</vt:lpstr>
      <vt:lpstr>Revenue Growth Trend</vt:lpstr>
      <vt:lpstr>PowerPoint Presentation</vt:lpstr>
    </vt:vector>
  </TitlesOfParts>
  <Company>Meritor, Inc.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otive Axles Limited Investor Presentation</dc:title>
  <dc:creator>Avanashiappan, Renuga</dc:creator>
  <cp:lastModifiedBy>Phani Kumar</cp:lastModifiedBy>
  <cp:revision>207</cp:revision>
  <cp:lastPrinted>2018-11-15T11:29:20Z</cp:lastPrinted>
  <dcterms:created xsi:type="dcterms:W3CDTF">2018-09-11T14:57:55Z</dcterms:created>
  <dcterms:modified xsi:type="dcterms:W3CDTF">2019-02-18T14:45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3B0130A83ED346BCF0FCC654E0EFA2</vt:lpwstr>
  </property>
</Properties>
</file>